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1"/>
  </p:sldMasterIdLst>
  <p:notesMasterIdLst>
    <p:notesMasterId r:id="rId15"/>
  </p:notesMasterIdLst>
  <p:handoutMasterIdLst>
    <p:handoutMasterId r:id="rId16"/>
  </p:handoutMasterIdLst>
  <p:sldIdLst>
    <p:sldId id="341" r:id="rId2"/>
    <p:sldId id="4153" r:id="rId3"/>
    <p:sldId id="4144" r:id="rId4"/>
    <p:sldId id="4151" r:id="rId5"/>
    <p:sldId id="4152" r:id="rId6"/>
    <p:sldId id="1654" r:id="rId7"/>
    <p:sldId id="4149" r:id="rId8"/>
    <p:sldId id="4145" r:id="rId9"/>
    <p:sldId id="4146" r:id="rId10"/>
    <p:sldId id="4147" r:id="rId11"/>
    <p:sldId id="4150" r:id="rId12"/>
    <p:sldId id="4154" r:id="rId13"/>
    <p:sldId id="459" r:id="rId14"/>
  </p:sldIdLst>
  <p:sldSz cx="12192000" cy="6858000"/>
  <p:notesSz cx="6805613" cy="9939338"/>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5C440"/>
    <a:srgbClr val="86BC25"/>
    <a:srgbClr val="009A44"/>
    <a:srgbClr val="40B373"/>
    <a:srgbClr val="58702D"/>
    <a:srgbClr val="000000"/>
    <a:srgbClr val="FFCD00"/>
    <a:srgbClr val="ED8B00"/>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5" autoAdjust="0"/>
    <p:restoredTop sz="94799" autoAdjust="0"/>
  </p:normalViewPr>
  <p:slideViewPr>
    <p:cSldViewPr snapToGrid="0" showGuides="1">
      <p:cViewPr varScale="1">
        <p:scale>
          <a:sx n="59" d="100"/>
          <a:sy n="59" d="100"/>
        </p:scale>
        <p:origin x="892" y="60"/>
      </p:cViewPr>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0"/>
    </p:cViewPr>
  </p:sorterViewPr>
  <p:notesViewPr>
    <p:cSldViewPr snapToGrid="0" showGuides="1">
      <p:cViewPr varScale="1">
        <p:scale>
          <a:sx n="57" d="100"/>
          <a:sy n="57" d="100"/>
        </p:scale>
        <p:origin x="1992" y="9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9302" cy="496428"/>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4790" y="1"/>
            <a:ext cx="2949302" cy="496428"/>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08/09/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41370"/>
            <a:ext cx="2949302" cy="496428"/>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4790" y="9441370"/>
            <a:ext cx="2949302" cy="496428"/>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4941" y="1"/>
            <a:ext cx="2949099" cy="496967"/>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08/09/2021</a:t>
            </a:fld>
            <a:endParaRPr lang="en-US" dirty="0"/>
          </a:p>
        </p:txBody>
      </p:sp>
      <p:sp>
        <p:nvSpPr>
          <p:cNvPr id="4" name="Slide Image Placeholder 3"/>
          <p:cNvSpPr>
            <a:spLocks noGrp="1" noRot="1" noChangeAspect="1"/>
          </p:cNvSpPr>
          <p:nvPr>
            <p:ph type="sldImg" idx="2"/>
          </p:nvPr>
        </p:nvSpPr>
        <p:spPr>
          <a:xfrm>
            <a:off x="92075" y="746125"/>
            <a:ext cx="6621463" cy="3725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80562" y="4721187"/>
            <a:ext cx="5444490" cy="4472702"/>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40647"/>
            <a:ext cx="2949099" cy="496967"/>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4941" y="9440647"/>
            <a:ext cx="2949099" cy="496967"/>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045841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235972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960363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2441987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4042115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uk-UA"/>
          </a:p>
        </p:txBody>
      </p:sp>
      <p:sp>
        <p:nvSpPr>
          <p:cNvPr id="4" name="Slide Number Placeholder 3"/>
          <p:cNvSpPr>
            <a:spLocks noGrp="1"/>
          </p:cNvSpPr>
          <p:nvPr>
            <p:ph type="sldNum" sz="quarter" idx="10"/>
          </p:nvPr>
        </p:nvSpPr>
        <p:spPr/>
        <p:txBody>
          <a:bodyPr/>
          <a:lstStyle/>
          <a:p>
            <a:fld id="{BD9C3A12-1E0F-412B-B376-8089A55D946C}" type="slidenum">
              <a:rPr lang="uk-UA" smtClean="0"/>
              <a:t>3</a:t>
            </a:fld>
            <a:endParaRPr lang="uk-UA"/>
          </a:p>
        </p:txBody>
      </p:sp>
    </p:spTree>
    <p:extLst>
      <p:ext uri="{BB962C8B-B14F-4D97-AF65-F5344CB8AC3E}">
        <p14:creationId xmlns:p14="http://schemas.microsoft.com/office/powerpoint/2010/main" val="861725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327908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095273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36503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075405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297895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1463" cy="3725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7794886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92333"/>
          </a:xfrm>
          <a:prstGeom prst="rect">
            <a:avLst/>
          </a:prstGeom>
          <a:noFill/>
        </p:spPr>
        <p:txBody>
          <a:bodyPr wrap="square" lIns="0" tIns="0" rIns="0" bIns="0" rtlCol="0">
            <a:spAutoFit/>
          </a:bodyPr>
          <a:lstStyle/>
          <a:p>
            <a:r>
              <a:rPr lang="en-US" sz="600" kern="1200">
                <a:solidFill>
                  <a:schemeClr val="bg1"/>
                </a:solidFill>
                <a:latin typeface="+mn-lt"/>
                <a:ea typeface="+mn-ea"/>
                <a:cs typeface="Calibri" panose="020F0502020204030204" pitchFamily="34" charset="0"/>
              </a:rPr>
              <a:t>©2021 Deloitte Vietnam Company Limited</a:t>
            </a:r>
            <a:endParaRPr lang="en-US" sz="600" kern="1200" dirty="0">
              <a:solidFill>
                <a:schemeClr val="bg1"/>
              </a:solidFill>
              <a:latin typeface="+mn-lt"/>
              <a:ea typeface="+mn-ea"/>
              <a:cs typeface="Calibri" panose="020F0502020204030204" pitchFamily="34" charset="0"/>
            </a:endParaRP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107722"/>
          </a:xfrm>
          <a:prstGeom prst="rect">
            <a:avLst/>
          </a:prstGeom>
          <a:noFill/>
        </p:spPr>
        <p:txBody>
          <a:bodyPr wrap="square" lIns="0" tIns="0" rIns="0" bIns="0" rtlCol="0">
            <a:spAutoFit/>
          </a:bodyPr>
          <a:lstStyle/>
          <a:p>
            <a:r>
              <a:rPr lang="en-US" sz="700" kern="1200">
                <a:solidFill>
                  <a:schemeClr val="bg1"/>
                </a:solidFill>
                <a:latin typeface="+mn-lt"/>
                <a:ea typeface="+mn-ea"/>
                <a:cs typeface="Calibri" panose="020F0502020204030204" pitchFamily="34" charset="0"/>
              </a:rPr>
              <a:t>©2021 Deloitte Vietnam Company Limited</a:t>
            </a:r>
            <a:endParaRPr lang="en-US" sz="700" kern="1200" dirty="0">
              <a:solidFill>
                <a:schemeClr val="bg1"/>
              </a:solidFill>
              <a:latin typeface="+mn-lt"/>
              <a:ea typeface="+mn-ea"/>
              <a:cs typeface="Calibri" panose="020F0502020204030204" pitchFamily="34" charset="0"/>
            </a:endParaRP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6345007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107722"/>
          </a:xfrm>
          <a:prstGeom prst="rect">
            <a:avLst/>
          </a:prstGeom>
          <a:noFill/>
        </p:spPr>
        <p:txBody>
          <a:bodyPr wrap="square" lIns="0" tIns="0" rIns="0" bIns="0" rtlCol="0">
            <a:spAutoFit/>
          </a:bodyPr>
          <a:lstStyle/>
          <a:p>
            <a:r>
              <a:rPr lang="en-US" sz="700" kern="1200">
                <a:solidFill>
                  <a:schemeClr val="bg1"/>
                </a:solidFill>
                <a:latin typeface="+mn-lt"/>
                <a:ea typeface="+mn-ea"/>
                <a:cs typeface="Calibri" panose="020F0502020204030204" pitchFamily="34" charset="0"/>
              </a:rPr>
              <a:t>©2021 Deloitte Vietnam Company Limited</a:t>
            </a:r>
            <a:endParaRPr lang="en-US" sz="700" kern="1200" dirty="0">
              <a:solidFill>
                <a:schemeClr val="bg1"/>
              </a:solidFill>
              <a:latin typeface="+mn-lt"/>
              <a:ea typeface="+mn-ea"/>
              <a:cs typeface="Calibri" panose="020F0502020204030204" pitchFamily="34" charset="0"/>
            </a:endParaRP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9418636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107722"/>
          </a:xfrm>
          <a:prstGeom prst="rect">
            <a:avLst/>
          </a:prstGeom>
          <a:noFill/>
        </p:spPr>
        <p:txBody>
          <a:bodyPr wrap="square" lIns="0" tIns="0" rIns="0" bIns="0" rtlCol="0">
            <a:spAutoFit/>
          </a:bodyPr>
          <a:lstStyle/>
          <a:p>
            <a:r>
              <a:rPr lang="en-US" sz="700" kern="1200">
                <a:solidFill>
                  <a:schemeClr val="bg1"/>
                </a:solidFill>
                <a:latin typeface="+mn-lt"/>
                <a:ea typeface="+mn-ea"/>
                <a:cs typeface="Calibri" panose="020F0502020204030204" pitchFamily="34" charset="0"/>
              </a:rPr>
              <a:t>©2021 Deloitte Vietnam Company Limited</a:t>
            </a:r>
            <a:endParaRPr lang="en-US" sz="700" kern="1200" dirty="0">
              <a:solidFill>
                <a:schemeClr val="bg1"/>
              </a:solidFill>
              <a:latin typeface="+mn-lt"/>
              <a:ea typeface="+mn-ea"/>
              <a:cs typeface="Calibri" panose="020F0502020204030204" pitchFamily="34" charset="0"/>
            </a:endParaRP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928609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018591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75488" y="1719072"/>
            <a:ext cx="9328912" cy="4643628"/>
          </a:xfrm>
          <a:prstGeom prst="rect">
            <a:avLst/>
          </a:prstGeom>
        </p:spPr>
        <p:txBody>
          <a:bodyPr>
            <a:noAutofit/>
          </a:bodyPr>
          <a:lstStyle>
            <a:lvl1pPr marL="0" indent="0" algn="l">
              <a:spcBef>
                <a:spcPts val="2700"/>
              </a:spcBef>
              <a:buFontTx/>
              <a:buNone/>
              <a:defRPr sz="3600">
                <a:solidFill>
                  <a:schemeClr val="tx1"/>
                </a:solidFill>
              </a:defRPr>
            </a:lvl1pPr>
            <a:lvl2pPr marL="342900" indent="-342900">
              <a:defRPr sz="2250">
                <a:solidFill>
                  <a:schemeClr val="bg2"/>
                </a:solidFill>
              </a:defRPr>
            </a:lvl2pPr>
            <a:lvl3pPr>
              <a:defRPr sz="2250">
                <a:solidFill>
                  <a:schemeClr val="bg2"/>
                </a:solidFill>
              </a:defRPr>
            </a:lvl3pPr>
            <a:lvl4pPr>
              <a:defRPr sz="2250">
                <a:solidFill>
                  <a:schemeClr val="bg2"/>
                </a:solidFill>
              </a:defRPr>
            </a:lvl4pPr>
            <a:lvl5pPr>
              <a:defRPr sz="225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5423100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3296" y="1714500"/>
            <a:ext cx="11277600" cy="4648200"/>
          </a:xfrm>
          <a:prstGeom prst="rect">
            <a:avLst/>
          </a:prstGeom>
        </p:spPr>
        <p:txBody>
          <a:bodyPr vert="horz" lIns="0" tIns="0" rIns="0" bIns="0" rtlCol="0">
            <a:noAutofit/>
          </a:bodyPr>
          <a:lstStyle>
            <a:lvl1pPr marL="0" indent="0" algn="l">
              <a:buFontTx/>
              <a:buNone/>
              <a:defRPr sz="1300">
                <a:latin typeface="+mn-lt"/>
              </a:defRPr>
            </a:lvl1pPr>
            <a:lvl2pPr marL="104775" indent="-104775" algn="l">
              <a:buClrTx/>
              <a:buSzPct val="100000"/>
              <a:buFont typeface="Arial" panose="020B0604020202020204" pitchFamily="34" charset="0"/>
              <a:buChar char="•"/>
              <a:defRPr sz="1300">
                <a:latin typeface="+mj-lt"/>
              </a:defRPr>
            </a:lvl2pPr>
            <a:lvl3pPr marL="228600" indent="-104775" algn="l">
              <a:buClrTx/>
              <a:buSzPct val="100000"/>
              <a:buFont typeface="Arial" panose="020B0604020202020204" pitchFamily="34" charset="0"/>
              <a:buChar char="−"/>
              <a:defRPr sz="1300">
                <a:latin typeface="+mn-lt"/>
              </a:defRPr>
            </a:lvl3pPr>
            <a:lvl4pPr marL="352425" indent="-104775" algn="l">
              <a:buClrTx/>
              <a:buSzPct val="100000"/>
              <a:buFont typeface="Arial" panose="020B0604020202020204" pitchFamily="34" charset="0"/>
              <a:buChar char="◦"/>
              <a:defRPr sz="1300">
                <a:latin typeface="+mn-lt"/>
              </a:defRPr>
            </a:lvl4pPr>
            <a:lvl5pPr marL="476250" indent="-104775" algn="l">
              <a:buClrTx/>
              <a:buSzPct val="100000"/>
              <a:buFont typeface="Arial" panose="020B0604020202020204" pitchFamily="34" charset="0"/>
              <a:buChar char="−"/>
              <a:defRPr sz="13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463296" y="347473"/>
            <a:ext cx="11277600"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2065608033"/>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3296" y="1714500"/>
            <a:ext cx="9341104" cy="4648200"/>
          </a:xfrm>
          <a:prstGeom prst="rect">
            <a:avLst/>
          </a:prstGeom>
        </p:spPr>
        <p:txBody>
          <a:bodyPr>
            <a:noAutofit/>
          </a:bodyPr>
          <a:lstStyle>
            <a:lvl1pPr marL="0" indent="0" algn="l">
              <a:buFontTx/>
              <a:buNone/>
              <a:tabLst>
                <a:tab pos="5047060" algn="r"/>
              </a:tabLst>
              <a:defRPr sz="1300">
                <a:latin typeface="+mn-lt"/>
              </a:defRPr>
            </a:lvl1pPr>
            <a:lvl2pPr marL="104775" indent="-104775" algn="l">
              <a:buClrTx/>
              <a:buSzPct val="100000"/>
              <a:buFont typeface="Arial" panose="020B0604020202020204" pitchFamily="34" charset="0"/>
              <a:buChar char="•"/>
              <a:tabLst>
                <a:tab pos="5047060" algn="r"/>
              </a:tabLst>
              <a:defRPr sz="1300">
                <a:latin typeface="+mj-lt"/>
              </a:defRPr>
            </a:lvl2pPr>
            <a:lvl3pPr marL="228600" indent="-104775" algn="l">
              <a:buClrTx/>
              <a:buSzPct val="100000"/>
              <a:buFont typeface="Arial" panose="020B0604020202020204" pitchFamily="34" charset="0"/>
              <a:buChar char="−"/>
              <a:tabLst>
                <a:tab pos="5047060" algn="r"/>
              </a:tabLst>
              <a:defRPr sz="1300">
                <a:latin typeface="+mn-lt"/>
              </a:defRPr>
            </a:lvl3pPr>
            <a:lvl4pPr marL="352425" indent="-104775" algn="l">
              <a:buClrTx/>
              <a:buSzPct val="100000"/>
              <a:buFont typeface="Arial" panose="020B0604020202020204" pitchFamily="34" charset="0"/>
              <a:buChar char="◦"/>
              <a:tabLst>
                <a:tab pos="504706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vl6pPr>
              <a:tabLst>
                <a:tab pos="5047060" algn="r"/>
              </a:tabLst>
              <a:defRPr/>
            </a:lvl6pPr>
            <a:lvl7pPr>
              <a:tabLst>
                <a:tab pos="5047060" algn="r"/>
              </a:tabLst>
              <a:defRPr/>
            </a:lvl7pPr>
            <a:lvl8pPr>
              <a:tabLst>
                <a:tab pos="5047060" algn="r"/>
              </a:tabLst>
              <a:defRPr/>
            </a:lvl8pPr>
            <a:lvl9pPr>
              <a:tabLst>
                <a:tab pos="504706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463296" y="347473"/>
            <a:ext cx="11180232" cy="698501"/>
          </a:xfrm>
          <a:prstGeom prst="rect">
            <a:avLst/>
          </a:prstGeom>
        </p:spPr>
        <p:txBody>
          <a:bodyPr vert="horz" lIns="0" tIns="0" rIns="0" bIns="0" rtlCol="0" anchor="t" anchorCtr="0">
            <a:noAutofit/>
          </a:bodyPr>
          <a:lstStyle>
            <a:lvl1pPr>
              <a:defRPr sz="2100"/>
            </a:lvl1pPr>
          </a:lstStyle>
          <a:p>
            <a:r>
              <a:rPr lang="en-US" dirty="0"/>
              <a:t>Click to add title</a:t>
            </a:r>
          </a:p>
        </p:txBody>
      </p:sp>
    </p:spTree>
    <p:extLst>
      <p:ext uri="{BB962C8B-B14F-4D97-AF65-F5344CB8AC3E}">
        <p14:creationId xmlns:p14="http://schemas.microsoft.com/office/powerpoint/2010/main" val="3020425069"/>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933144" y="345584"/>
            <a:ext cx="2804160" cy="1027760"/>
          </a:xfrm>
        </p:spPr>
        <p:txBody>
          <a:bodyPr>
            <a:noAutofit/>
          </a:bodyPr>
          <a:lstStyle>
            <a:lvl1pPr>
              <a:spcBef>
                <a:spcPts val="139"/>
              </a:spcBef>
              <a:defRPr sz="900">
                <a:solidFill>
                  <a:schemeClr val="tx1"/>
                </a:solidFill>
              </a:defRPr>
            </a:lvl1pPr>
            <a:lvl2pPr>
              <a:defRPr sz="727">
                <a:solidFill>
                  <a:schemeClr val="tx2"/>
                </a:solidFill>
              </a:defRPr>
            </a:lvl2pPr>
            <a:lvl3pPr>
              <a:defRPr sz="727">
                <a:solidFill>
                  <a:schemeClr val="tx2"/>
                </a:solidFill>
              </a:defRPr>
            </a:lvl3pPr>
            <a:lvl4pPr>
              <a:defRPr sz="692">
                <a:solidFill>
                  <a:schemeClr val="tx2"/>
                </a:solidFill>
              </a:defRPr>
            </a:lvl4pPr>
            <a:lvl5pPr>
              <a:defRPr sz="692">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63296" y="1714500"/>
            <a:ext cx="3549904" cy="4648200"/>
          </a:xfrm>
        </p:spPr>
        <p:txBody>
          <a:bodyPr>
            <a:noAutofit/>
          </a:bodyPr>
          <a:lstStyle>
            <a:lvl1pPr>
              <a:spcBef>
                <a:spcPts val="0"/>
              </a:spcBef>
              <a:spcAft>
                <a:spcPts val="416"/>
              </a:spcAft>
              <a:defRPr sz="1300"/>
            </a:lvl1pPr>
            <a:lvl2pPr>
              <a:spcBef>
                <a:spcPts val="208"/>
              </a:spcBef>
              <a:defRPr/>
            </a:lvl2pPr>
            <a:lvl3pPr>
              <a:spcBef>
                <a:spcPts val="208"/>
              </a:spcBef>
              <a:defRPr/>
            </a:lvl3pPr>
            <a:lvl4pPr>
              <a:spcBef>
                <a:spcPts val="208"/>
              </a:spcBef>
              <a:defRPr/>
            </a:lvl4pPr>
            <a:lvl5pPr>
              <a:spcBef>
                <a:spcPts val="208"/>
              </a:spcBef>
              <a:defRPr/>
            </a:lvl5pPr>
          </a:lstStyle>
          <a:p>
            <a:pPr lvl="0"/>
            <a:r>
              <a:rPr lang="en-US"/>
              <a:t>Click to edit Master text styles</a:t>
            </a:r>
          </a:p>
        </p:txBody>
      </p:sp>
      <p:sp>
        <p:nvSpPr>
          <p:cNvPr id="9" name="Text Placeholder 8"/>
          <p:cNvSpPr>
            <a:spLocks noGrp="1"/>
          </p:cNvSpPr>
          <p:nvPr>
            <p:ph type="body" sz="quarter" idx="12"/>
          </p:nvPr>
        </p:nvSpPr>
        <p:spPr>
          <a:xfrm>
            <a:off x="4318000" y="1719073"/>
            <a:ext cx="7416801" cy="4643628"/>
          </a:xfrm>
        </p:spPr>
        <p:txBody>
          <a:bodyPr>
            <a:noAutofit/>
          </a:bodyPr>
          <a:lstStyle>
            <a:lvl1pPr marL="0" indent="0" algn="l">
              <a:spcBef>
                <a:spcPts val="1247"/>
              </a:spcBef>
              <a:buFontTx/>
              <a:buNone/>
              <a:defRPr sz="1300"/>
            </a:lvl1pPr>
            <a:lvl2pPr marL="104775" indent="-104775" algn="l">
              <a:buClrTx/>
              <a:buSzPct val="100000"/>
              <a:buFont typeface="Arial" panose="020B0604020202020204" pitchFamily="34" charset="0"/>
              <a:buChar char="•"/>
              <a:defRPr sz="1300"/>
            </a:lvl2pPr>
            <a:lvl3pPr marL="228600" indent="-104775" algn="l">
              <a:buClrTx/>
              <a:buSzPct val="100000"/>
              <a:buFont typeface="Arial" panose="020B0604020202020204" pitchFamily="34" charset="0"/>
              <a:buChar char="−"/>
              <a:defRPr sz="1300"/>
            </a:lvl3pPr>
            <a:lvl4pPr marL="352425" indent="-104775" algn="l">
              <a:buClrTx/>
              <a:buSzPct val="100000"/>
              <a:buFont typeface="Arial" panose="020B0604020202020204" pitchFamily="34" charset="0"/>
              <a:buChar char="◦"/>
              <a:defRPr sz="1300"/>
            </a:lvl4pPr>
            <a:lvl5pPr marL="476250" indent="-104775" algn="l">
              <a:buClrTx/>
              <a:buSzPct val="100000"/>
              <a:buFont typeface="Arial" panose="020B0604020202020204" pitchFamily="34" charset="0"/>
              <a:buChar cha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8D879EE2-D803-4CB2-AF00-F24E09224D10}"/>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7" name="Oval 5">
              <a:extLst>
                <a:ext uri="{FF2B5EF4-FFF2-40B4-BE49-F238E27FC236}">
                  <a16:creationId xmlns:a16="http://schemas.microsoft.com/office/drawing/2014/main" id="{D45CA835-378D-4289-9657-CD3C1D614351}"/>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a:extLst>
                <a:ext uri="{FF2B5EF4-FFF2-40B4-BE49-F238E27FC236}">
                  <a16:creationId xmlns:a16="http://schemas.microsoft.com/office/drawing/2014/main" id="{D3810899-A11C-413B-8CBC-D3CFBE3CD80B}"/>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a:extLst>
                <a:ext uri="{FF2B5EF4-FFF2-40B4-BE49-F238E27FC236}">
                  <a16:creationId xmlns:a16="http://schemas.microsoft.com/office/drawing/2014/main" id="{A104677E-C9A9-43FD-9636-282AA4967CC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a:extLst>
                <a:ext uri="{FF2B5EF4-FFF2-40B4-BE49-F238E27FC236}">
                  <a16:creationId xmlns:a16="http://schemas.microsoft.com/office/drawing/2014/main" id="{33CAB285-FAC0-4F34-8146-267CBA1B5D9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a:extLst>
                <a:ext uri="{FF2B5EF4-FFF2-40B4-BE49-F238E27FC236}">
                  <a16:creationId xmlns:a16="http://schemas.microsoft.com/office/drawing/2014/main" id="{16082ED9-88C5-4736-942C-C7E3CCCA1BE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a:extLst>
                <a:ext uri="{FF2B5EF4-FFF2-40B4-BE49-F238E27FC236}">
                  <a16:creationId xmlns:a16="http://schemas.microsoft.com/office/drawing/2014/main" id="{E1E6C516-6C1B-4A02-BB05-4F831D78ECF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a:extLst>
                <a:ext uri="{FF2B5EF4-FFF2-40B4-BE49-F238E27FC236}">
                  <a16:creationId xmlns:a16="http://schemas.microsoft.com/office/drawing/2014/main" id="{DA6EFC15-17CF-407E-9776-DF518801DEE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a:extLst>
                <a:ext uri="{FF2B5EF4-FFF2-40B4-BE49-F238E27FC236}">
                  <a16:creationId xmlns:a16="http://schemas.microsoft.com/office/drawing/2014/main" id="{032EBC75-0AB2-4438-90A3-70694DE0F42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a:extLst>
                <a:ext uri="{FF2B5EF4-FFF2-40B4-BE49-F238E27FC236}">
                  <a16:creationId xmlns:a16="http://schemas.microsoft.com/office/drawing/2014/main" id="{FC22A38A-F53A-4006-98CB-F2CD2E27610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4">
              <a:extLst>
                <a:ext uri="{FF2B5EF4-FFF2-40B4-BE49-F238E27FC236}">
                  <a16:creationId xmlns:a16="http://schemas.microsoft.com/office/drawing/2014/main" id="{69265903-DE87-4699-A08F-FA3C1B52FB3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831143541"/>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63295" y="347472"/>
            <a:ext cx="11228832" cy="698500"/>
          </a:xfrm>
          <a:prstGeom prst="rect">
            <a:avLst/>
          </a:prstGeom>
        </p:spPr>
        <p:txBody>
          <a:bodyPr vert="horz" lIns="0" tIns="0" rIns="0" bIns="0" rtlCol="0" anchor="t" anchorCtr="0">
            <a:noAutofit/>
          </a:bodyPr>
          <a:lstStyle>
            <a:lvl1pPr>
              <a:defRPr sz="2100"/>
            </a:lvl1pPr>
          </a:lstStyle>
          <a:p>
            <a:r>
              <a:rPr lang="en-US" noProof="0" dirty="0"/>
              <a:t>Click to add title</a:t>
            </a:r>
          </a:p>
        </p:txBody>
      </p:sp>
      <p:sp>
        <p:nvSpPr>
          <p:cNvPr id="5" name="Picture Placeholder 9"/>
          <p:cNvSpPr>
            <a:spLocks noGrp="1"/>
          </p:cNvSpPr>
          <p:nvPr>
            <p:ph type="pic" sz="quarter" idx="15"/>
          </p:nvPr>
        </p:nvSpPr>
        <p:spPr>
          <a:xfrm>
            <a:off x="5450351" y="1714500"/>
            <a:ext cx="6240000" cy="4648200"/>
          </a:xfrm>
        </p:spPr>
        <p:txBody>
          <a:bodyPr>
            <a:noAutofit/>
          </a:bodyPr>
          <a:lstStyle>
            <a:lvl1pPr>
              <a:defRPr sz="1300"/>
            </a:lvl1pPr>
          </a:lstStyle>
          <a:p>
            <a:r>
              <a:rPr lang="en-US" noProof="0"/>
              <a:t>Click icon to add picture</a:t>
            </a:r>
            <a:endParaRPr lang="en-US" noProof="0" dirty="0"/>
          </a:p>
        </p:txBody>
      </p:sp>
      <p:sp>
        <p:nvSpPr>
          <p:cNvPr id="6" name="Content Placeholder 3"/>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94725153"/>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248404" y="1719072"/>
            <a:ext cx="5486397"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300"/>
            </a:lvl1pPr>
          </a:lstStyle>
          <a:p>
            <a:r>
              <a:rPr lang="en-US"/>
              <a:t>Click icon to add chart</a:t>
            </a:r>
            <a:endParaRPr lang="en-GB" dirty="0"/>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3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300"/>
            </a:lvl1pPr>
          </a:lstStyle>
          <a:p>
            <a:r>
              <a:rPr lang="en-US" noProof="0"/>
              <a:t>Click icon to add chart</a:t>
            </a:r>
            <a:endParaRPr lang="en-US" noProof="0" dirty="0"/>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9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4991067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3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300"/>
            </a:lvl1pPr>
          </a:lstStyle>
          <a:p>
            <a:r>
              <a:rPr lang="en-US"/>
              <a:t>Click icon to add chart</a:t>
            </a:r>
            <a:endParaRPr lang="en-GB" dirty="0"/>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3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300"/>
            </a:lvl1pPr>
          </a:lstStyle>
          <a:p>
            <a:r>
              <a:rPr lang="en-US"/>
              <a:t>Click icon to add chart</a:t>
            </a:r>
            <a:endParaRPr lang="en-GB" dirty="0"/>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2343963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300">
                <a:latin typeface="+mn-lt"/>
              </a:defRPr>
            </a:lvl1pPr>
            <a:lvl2pPr marL="104775" indent="-104775" algn="l">
              <a:buClrTx/>
              <a:buSzPct val="100000"/>
              <a:buFont typeface="Arial" panose="020B0604020202020204" pitchFamily="34" charset="0"/>
              <a:buChar char="•"/>
              <a:tabLst>
                <a:tab pos="3771900" algn="r"/>
              </a:tabLst>
              <a:defRPr sz="1300">
                <a:latin typeface="+mj-lt"/>
              </a:defRPr>
            </a:lvl2pPr>
            <a:lvl3pPr marL="228600" indent="-104775" algn="l">
              <a:buClrTx/>
              <a:buSzPct val="100000"/>
              <a:buFont typeface="Arial" panose="020B0604020202020204" pitchFamily="34" charset="0"/>
              <a:buChar char="−"/>
              <a:tabLst>
                <a:tab pos="3771900" algn="r"/>
              </a:tabLst>
              <a:defRPr sz="1300">
                <a:latin typeface="+mn-lt"/>
              </a:defRPr>
            </a:lvl3pPr>
            <a:lvl4pPr marL="352425" indent="-104775" algn="l">
              <a:buClrTx/>
              <a:buSzPct val="100000"/>
              <a:buFont typeface="Arial" panose="020B0604020202020204" pitchFamily="34" charset="0"/>
              <a:buChar char="◦"/>
              <a:tabLst>
                <a:tab pos="3771900" algn="r"/>
              </a:tabLst>
              <a:defRPr sz="1300">
                <a:latin typeface="+mn-lt"/>
              </a:defRPr>
            </a:lvl4pPr>
            <a:lvl5pPr marL="476250" indent="-104775" algn="l">
              <a:buClrTx/>
              <a:buSzPct val="100000"/>
              <a:buFont typeface="Arial" panose="020B0604020202020204" pitchFamily="34" charset="0"/>
              <a:buChar char="−"/>
              <a:tabLst>
                <a:tab pos="3771900" algn="r"/>
              </a:tabLst>
              <a:defRPr sz="13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6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300"/>
            </a:lvl1pPr>
            <a:lvl2pPr marL="104775" indent="-104775" algn="l">
              <a:buClrTx/>
              <a:buSzPct val="100000"/>
              <a:buFont typeface="Arial" panose="020B0604020202020204" pitchFamily="34" charset="0"/>
              <a:buChar char="•"/>
              <a:tabLst>
                <a:tab pos="3771900" algn="r"/>
              </a:tabLst>
              <a:defRPr sz="1300"/>
            </a:lvl2pPr>
            <a:lvl3pPr marL="228600" indent="-104775" algn="l">
              <a:buClrTx/>
              <a:buSzPct val="100000"/>
              <a:buFont typeface="Arial" panose="020B0604020202020204" pitchFamily="34" charset="0"/>
              <a:buChar char="−"/>
              <a:tabLst>
                <a:tab pos="3771900" algn="r"/>
              </a:tabLst>
              <a:defRPr sz="1300"/>
            </a:lvl3pPr>
            <a:lvl4pPr marL="352425" indent="-104775" algn="l">
              <a:buClrTx/>
              <a:buSzPct val="100000"/>
              <a:buFont typeface="Arial" panose="020B0604020202020204" pitchFamily="34" charset="0"/>
              <a:buChar char="◦"/>
              <a:tabLst>
                <a:tab pos="3771900" algn="r"/>
              </a:tabLst>
              <a:defRPr sz="1300"/>
            </a:lvl4pPr>
            <a:lvl5pPr marL="476250" indent="-104775" algn="l">
              <a:buClrTx/>
              <a:buSzPct val="100000"/>
              <a:buFont typeface="Arial" panose="020B0604020202020204" pitchFamily="34" charset="0"/>
              <a:buChar char="−"/>
              <a:tabLst>
                <a:tab pos="3771900" algn="r"/>
              </a:tabLst>
              <a:defRPr sz="13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9756464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300"/>
            </a:lvl1pPr>
          </a:lstStyle>
          <a:p>
            <a:r>
              <a:rPr lang="en-US" noProof="0"/>
              <a:t>Click icon to add chart</a:t>
            </a:r>
            <a:endParaRPr lang="en-US" noProof="0" dirty="0"/>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3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300"/>
            </a:lvl1pPr>
          </a:lstStyle>
          <a:p>
            <a:r>
              <a:rPr lang="en-US" noProof="0"/>
              <a:t>Click icon to add chart</a:t>
            </a:r>
            <a:endParaRPr lang="en-US" noProof="0" dirty="0"/>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3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300"/>
            </a:lvl1pPr>
          </a:lstStyle>
          <a:p>
            <a:r>
              <a:rPr lang="en-US" noProof="0"/>
              <a:t>Click icon to add chart</a:t>
            </a:r>
            <a:endParaRPr lang="en-US" noProof="0" dirty="0"/>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3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45862145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21258604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66617"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475645"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66617"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300" b="1"/>
            </a:lvl1pPr>
            <a:lvl2pPr marL="104775" indent="-104775" algn="l">
              <a:spcAft>
                <a:spcPts val="0"/>
              </a:spcAft>
              <a:buClrTx/>
              <a:buSzPct val="100000"/>
              <a:buFont typeface="Arial" panose="020B0604020202020204" pitchFamily="34" charset="0"/>
              <a:buChar char="•"/>
              <a:defRPr sz="13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63296" y="636422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cxnSp>
        <p:nvCxnSpPr>
          <p:cNvPr id="5" name="Straight Connector 4">
            <a:extLst>
              <a:ext uri="{FF2B5EF4-FFF2-40B4-BE49-F238E27FC236}">
                <a16:creationId xmlns:a16="http://schemas.microsoft.com/office/drawing/2014/main" id="{CB5451A9-3E6A-4737-92D0-C9DAA534DA04}"/>
              </a:ext>
            </a:extLst>
          </p:cNvPr>
          <p:cNvCxnSpPr/>
          <p:nvPr userDrawn="1"/>
        </p:nvCxnSpPr>
        <p:spPr>
          <a:xfrm flipV="1">
            <a:off x="0" y="0"/>
            <a:ext cx="12192000" cy="6858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A2ADDA35-0590-4771-9879-88CE0238551F}"/>
              </a:ext>
            </a:extLst>
          </p:cNvPr>
          <p:cNvGrpSpPr/>
          <p:nvPr userDrawn="1"/>
        </p:nvGrpSpPr>
        <p:grpSpPr>
          <a:xfrm>
            <a:off x="463296" y="341312"/>
            <a:ext cx="1819656" cy="347472"/>
            <a:chOff x="398463" y="404813"/>
            <a:chExt cx="1627187" cy="307976"/>
          </a:xfrm>
          <a:solidFill>
            <a:schemeClr val="bg1"/>
          </a:solidFill>
        </p:grpSpPr>
        <p:sp>
          <p:nvSpPr>
            <p:cNvPr id="19" name="Oval 5">
              <a:extLst>
                <a:ext uri="{FF2B5EF4-FFF2-40B4-BE49-F238E27FC236}">
                  <a16:creationId xmlns:a16="http://schemas.microsoft.com/office/drawing/2014/main" id="{3FD17B1A-A918-439D-AFAD-ECE9421735FC}"/>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6">
              <a:extLst>
                <a:ext uri="{FF2B5EF4-FFF2-40B4-BE49-F238E27FC236}">
                  <a16:creationId xmlns:a16="http://schemas.microsoft.com/office/drawing/2014/main" id="{79359716-9ACF-4041-A7F0-2E04E36D8614}"/>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1" name="Rectangle 7">
              <a:extLst>
                <a:ext uri="{FF2B5EF4-FFF2-40B4-BE49-F238E27FC236}">
                  <a16:creationId xmlns:a16="http://schemas.microsoft.com/office/drawing/2014/main" id="{EE3C6AB2-FF26-4D74-983F-E8C9540B703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2" name="Freeform 8">
              <a:extLst>
                <a:ext uri="{FF2B5EF4-FFF2-40B4-BE49-F238E27FC236}">
                  <a16:creationId xmlns:a16="http://schemas.microsoft.com/office/drawing/2014/main" id="{B600C838-AB18-404F-AF64-5BE6309AC231}"/>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3" name="Rectangle 9">
              <a:extLst>
                <a:ext uri="{FF2B5EF4-FFF2-40B4-BE49-F238E27FC236}">
                  <a16:creationId xmlns:a16="http://schemas.microsoft.com/office/drawing/2014/main" id="{37EF79B8-3321-4A68-A438-F7CA9AB20D0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4" name="Rectangle 10">
              <a:extLst>
                <a:ext uri="{FF2B5EF4-FFF2-40B4-BE49-F238E27FC236}">
                  <a16:creationId xmlns:a16="http://schemas.microsoft.com/office/drawing/2014/main" id="{9EB266B0-2723-40E9-BD24-9B88F113710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5" name="Freeform 11">
              <a:extLst>
                <a:ext uri="{FF2B5EF4-FFF2-40B4-BE49-F238E27FC236}">
                  <a16:creationId xmlns:a16="http://schemas.microsoft.com/office/drawing/2014/main" id="{90C5C28F-BB95-44AD-9700-55D9AE2BE2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6" name="Freeform 12">
              <a:extLst>
                <a:ext uri="{FF2B5EF4-FFF2-40B4-BE49-F238E27FC236}">
                  <a16:creationId xmlns:a16="http://schemas.microsoft.com/office/drawing/2014/main" id="{42500885-66FF-4752-A3E1-7C0FA9778A8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7" name="Freeform 13">
              <a:extLst>
                <a:ext uri="{FF2B5EF4-FFF2-40B4-BE49-F238E27FC236}">
                  <a16:creationId xmlns:a16="http://schemas.microsoft.com/office/drawing/2014/main" id="{165DB8AE-A24F-4086-963B-1C7F379D216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1" name="Freeform 14">
              <a:extLst>
                <a:ext uri="{FF2B5EF4-FFF2-40B4-BE49-F238E27FC236}">
                  <a16:creationId xmlns:a16="http://schemas.microsoft.com/office/drawing/2014/main" id="{282083A4-2C11-43E4-9516-9622E1E74D9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dirty="0">
                <a:solidFill>
                  <a:schemeClr val="bg1"/>
                </a:solidFill>
              </a:rPr>
              <a:t>Co-brand</a:t>
            </a:r>
            <a:br>
              <a:rPr lang="en-US" sz="900" noProof="0" dirty="0">
                <a:solidFill>
                  <a:schemeClr val="bg1"/>
                </a:solidFill>
              </a:rPr>
            </a:br>
            <a:r>
              <a:rPr lang="en-US" sz="900" noProof="0" dirty="0">
                <a:solidFill>
                  <a:schemeClr val="bg1"/>
                </a:solidFill>
              </a:rPr>
              <a:t>Logo</a:t>
            </a:r>
          </a:p>
          <a:p>
            <a:endParaRPr lang="en-US" noProof="0" dirty="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07911560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30371969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300"/>
            </a:lvl1pPr>
            <a:lvl2pPr>
              <a:defRPr sz="1300"/>
            </a:lvl2pPr>
            <a:lvl3pPr>
              <a:defRPr sz="1300"/>
            </a:lvl3pPr>
            <a:lvl4pPr>
              <a:defRPr sz="1300"/>
            </a:lvl4pPr>
            <a:lvl5pPr>
              <a:defRPr sz="13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54735668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accent1"/>
                </a:solidFill>
              </a:defRPr>
            </a:lvl1pPr>
            <a:lvl2pPr marL="104775" indent="-104775" algn="l">
              <a:spcAft>
                <a:spcPts val="0"/>
              </a:spcAft>
              <a:buClrTx/>
              <a:buSzPct val="100000"/>
              <a:buFont typeface="Arial" panose="020B0604020202020204" pitchFamily="34" charset="0"/>
              <a:buChar char="•"/>
              <a:defRPr sz="1300"/>
            </a:lvl2pPr>
            <a:lvl3pPr marL="228600" indent="-104775" algn="l">
              <a:spcAft>
                <a:spcPts val="0"/>
              </a:spcAft>
              <a:buClrTx/>
              <a:buSzPct val="100000"/>
              <a:buFont typeface="Arial" panose="020B0604020202020204" pitchFamily="34" charset="0"/>
              <a:buChar char="−"/>
              <a:defRPr sz="1300"/>
            </a:lvl3pPr>
            <a:lvl4pPr marL="352425" indent="-104775" algn="l">
              <a:spcAft>
                <a:spcPts val="0"/>
              </a:spcAft>
              <a:buClrTx/>
              <a:buSzPct val="100000"/>
              <a:buFont typeface="Arial" panose="020B0604020202020204" pitchFamily="34" charset="0"/>
              <a:buChar char="◦"/>
              <a:defRPr sz="1300"/>
            </a:lvl4pPr>
            <a:lvl5pPr marL="476250" indent="-104775" algn="l">
              <a:spcAft>
                <a:spcPts val="0"/>
              </a:spcAft>
              <a:buClrTx/>
              <a:buSzPct val="100000"/>
              <a:buFont typeface="Arial" panose="020B0604020202020204" pitchFamily="34" charset="0"/>
              <a:buChar char="−"/>
              <a:defRPr sz="13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2226890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a:t>
            </a:r>
            <a:r>
              <a:rPr lang="en-US" sz="675" noProof="0" dirty="0" err="1">
                <a:solidFill>
                  <a:schemeClr val="bg1"/>
                </a:solidFill>
                <a:latin typeface="Calibri" panose="020F0502020204030204" pitchFamily="34" charset="0"/>
                <a:cs typeface="Calibri" panose="020F0502020204030204" pitchFamily="34" charset="0"/>
              </a:rPr>
              <a:t>Mster</a:t>
            </a:r>
            <a:r>
              <a:rPr lang="en-US" sz="675" noProof="0" dirty="0">
                <a:solidFill>
                  <a:schemeClr val="bg1"/>
                </a:solidFill>
                <a:latin typeface="Calibri" panose="020F0502020204030204" pitchFamily="34" charset="0"/>
                <a:cs typeface="Calibri" panose="020F0502020204030204" pitchFamily="34" charset="0"/>
              </a:rPr>
              <a:t>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dirty="0"/>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300" b="1">
                <a:solidFill>
                  <a:schemeClr val="bg1"/>
                </a:solidFill>
              </a:defRPr>
            </a:lvl1pPr>
            <a:lvl2pPr marL="104775" indent="-104775" algn="l">
              <a:spcAft>
                <a:spcPts val="0"/>
              </a:spcAft>
              <a:buClrTx/>
              <a:buSzPct val="100000"/>
              <a:buFont typeface="Arial" panose="020B0604020202020204" pitchFamily="34" charset="0"/>
              <a:buChar char="•"/>
              <a:defRPr sz="1300">
                <a:solidFill>
                  <a:schemeClr val="bg1"/>
                </a:solidFill>
              </a:defRPr>
            </a:lvl2pPr>
            <a:lvl3pPr marL="228600" indent="-104775" algn="l">
              <a:spcAft>
                <a:spcPts val="0"/>
              </a:spcAft>
              <a:buClrTx/>
              <a:buSzPct val="100000"/>
              <a:buFont typeface="Arial" panose="020B0604020202020204" pitchFamily="34" charset="0"/>
              <a:buChar char="−"/>
              <a:defRPr sz="1300">
                <a:solidFill>
                  <a:schemeClr val="bg1"/>
                </a:solidFill>
              </a:defRPr>
            </a:lvl3pPr>
            <a:lvl4pPr marL="352425" indent="-104775" algn="l">
              <a:spcAft>
                <a:spcPts val="0"/>
              </a:spcAft>
              <a:buClrTx/>
              <a:buSzPct val="100000"/>
              <a:buFont typeface="Arial" panose="020B0604020202020204" pitchFamily="34" charset="0"/>
              <a:buChar char="◦"/>
              <a:defRPr sz="1300">
                <a:solidFill>
                  <a:schemeClr val="bg1"/>
                </a:solidFill>
              </a:defRPr>
            </a:lvl4pPr>
            <a:lvl5pPr marL="476250" indent="-104775" algn="l">
              <a:spcAft>
                <a:spcPts val="0"/>
              </a:spcAft>
              <a:buClrTx/>
              <a:buSzPct val="100000"/>
              <a:buFont typeface="Arial" panose="020B0604020202020204" pitchFamily="34" charset="0"/>
              <a:buChar char="−"/>
              <a:defRPr sz="13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9108582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dirty="0">
                <a:solidFill>
                  <a:schemeClr val="bg1"/>
                </a:solidFill>
              </a:rPr>
              <a:t>Co-brand</a:t>
            </a:r>
            <a:br>
              <a:rPr lang="en-US" sz="900" dirty="0">
                <a:solidFill>
                  <a:schemeClr val="bg1"/>
                </a:solidFill>
              </a:rPr>
            </a:br>
            <a:r>
              <a:rPr lang="en-US" sz="900" dirty="0">
                <a:solidFill>
                  <a:schemeClr val="bg1"/>
                </a:solidFill>
              </a:rPr>
              <a:t>Logo</a:t>
            </a:r>
          </a:p>
          <a:p>
            <a:endParaRPr lang="en-GB" dirty="0"/>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300" b="1">
                <a:solidFill>
                  <a:schemeClr val="accent1"/>
                </a:solidFill>
              </a:defRPr>
            </a:lvl1pPr>
            <a:lvl2pPr marL="104775" indent="-104775" algn="l">
              <a:spcAft>
                <a:spcPts val="750"/>
              </a:spcAft>
              <a:buClrTx/>
              <a:buSzPct val="100000"/>
              <a:buFont typeface="Arial" panose="020B0604020202020204" pitchFamily="34" charset="0"/>
              <a:buChar char="•"/>
              <a:defRPr sz="1300"/>
            </a:lvl2pPr>
            <a:lvl3pPr marL="228600" indent="-104775" algn="l">
              <a:spcAft>
                <a:spcPts val="750"/>
              </a:spcAft>
              <a:buClrTx/>
              <a:buSzPct val="100000"/>
              <a:buFont typeface="Arial" panose="020B0604020202020204" pitchFamily="34" charset="0"/>
              <a:buChar char="−"/>
              <a:defRPr sz="1300"/>
            </a:lvl3pPr>
            <a:lvl4pPr marL="352425" indent="-104775" algn="l">
              <a:spcAft>
                <a:spcPts val="750"/>
              </a:spcAft>
              <a:buClrTx/>
              <a:buSzPct val="100000"/>
              <a:buFont typeface="Arial" panose="020B0604020202020204" pitchFamily="34" charset="0"/>
              <a:buChar char="◦"/>
              <a:defRPr sz="1300"/>
            </a:lvl4pPr>
            <a:lvl5pPr marL="476250" indent="-104775" algn="l">
              <a:spcAft>
                <a:spcPts val="750"/>
              </a:spcAft>
              <a:buClrTx/>
              <a:buSzPct val="100000"/>
              <a:buFont typeface="Arial" panose="020B0604020202020204" pitchFamily="34" charset="0"/>
              <a:buChar char="−"/>
              <a:defRPr sz="13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dirty="0">
              <a:solidFill>
                <a:schemeClr val="bg1"/>
              </a:solidFill>
            </a:endParaRPr>
          </a:p>
        </p:txBody>
      </p:sp>
    </p:spTree>
    <p:extLst>
      <p:ext uri="{BB962C8B-B14F-4D97-AF65-F5344CB8AC3E}">
        <p14:creationId xmlns:p14="http://schemas.microsoft.com/office/powerpoint/2010/main" val="26238434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7509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lstStyle>
            <a:lvl1pPr algn="ctr">
              <a:defRPr sz="675">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12076" y="5995943"/>
            <a:ext cx="2319501" cy="363722"/>
          </a:xfrm>
        </p:spPr>
        <p:txBody>
          <a:bodyPr anchor="b" anchorCtr="0">
            <a:noAutofit/>
          </a:bodyPr>
          <a:lstStyle>
            <a:lvl1pPr>
              <a:lnSpc>
                <a:spcPct val="100000"/>
              </a:lnSpc>
              <a:defRPr sz="9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2869368264"/>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IMAGE-17-a">
    <p:spTree>
      <p:nvGrpSpPr>
        <p:cNvPr id="1" name=""/>
        <p:cNvGrpSpPr/>
        <p:nvPr/>
      </p:nvGrpSpPr>
      <p:grpSpPr>
        <a:xfrm>
          <a:off x="0" y="0"/>
          <a:ext cx="0" cy="0"/>
          <a:chOff x="0" y="0"/>
          <a:chExt cx="0" cy="0"/>
        </a:xfrm>
      </p:grpSpPr>
      <p:sp>
        <p:nvSpPr>
          <p:cNvPr id="4" name="Picture Placeholder 5"/>
          <p:cNvSpPr>
            <a:spLocks noGrp="1"/>
          </p:cNvSpPr>
          <p:nvPr>
            <p:ph type="pic" sz="quarter" idx="11"/>
          </p:nvPr>
        </p:nvSpPr>
        <p:spPr>
          <a:xfrm>
            <a:off x="0" y="1"/>
            <a:ext cx="12192000" cy="3425371"/>
          </a:xfrm>
          <a:prstGeom prst="rect">
            <a:avLst/>
          </a:prstGeom>
          <a:solidFill>
            <a:schemeClr val="tx1">
              <a:lumMod val="50000"/>
              <a:lumOff val="50000"/>
            </a:schemeClr>
          </a:solidFill>
        </p:spPr>
        <p:txBody>
          <a:bodyPr/>
          <a:lstStyle/>
          <a:p>
            <a:endParaRPr lang="uk-UA"/>
          </a:p>
        </p:txBody>
      </p:sp>
      <p:sp>
        <p:nvSpPr>
          <p:cNvPr id="3" name="Title 1">
            <a:extLst>
              <a:ext uri="{FF2B5EF4-FFF2-40B4-BE49-F238E27FC236}">
                <a16:creationId xmlns:a16="http://schemas.microsoft.com/office/drawing/2014/main" id="{07546306-BB2E-C745-BE62-0F61AFAAA161}"/>
              </a:ext>
            </a:extLst>
          </p:cNvPr>
          <p:cNvSpPr>
            <a:spLocks noGrp="1"/>
          </p:cNvSpPr>
          <p:nvPr>
            <p:ph type="title" hasCustomPrompt="1"/>
          </p:nvPr>
        </p:nvSpPr>
        <p:spPr>
          <a:xfrm>
            <a:off x="1079500" y="1596153"/>
            <a:ext cx="10033000" cy="609600"/>
          </a:xfrm>
          <a:prstGeom prst="rect">
            <a:avLst/>
          </a:prstGeom>
        </p:spPr>
        <p:txBody>
          <a:bodyPr anchor="ctr"/>
          <a:lstStyle>
            <a:lvl1pPr marL="0" algn="ctr" defTabSz="914446" rtl="0" eaLnBrk="1" latinLnBrk="0" hangingPunct="1">
              <a:defRPr lang="en-US" sz="4400" kern="1200" dirty="0">
                <a:solidFill>
                  <a:schemeClr val="tx1"/>
                </a:solidFill>
                <a:latin typeface="+mj-lt"/>
                <a:ea typeface="Source Sans Pro Black" panose="020B0803030403020204" pitchFamily="34" charset="0"/>
                <a:cs typeface="+mn-cs"/>
              </a:defRPr>
            </a:lvl1pPr>
          </a:lstStyle>
          <a:p>
            <a:pPr marL="0" lvl="0" indent="0" algn="ctr">
              <a:spcBef>
                <a:spcPts val="1000"/>
              </a:spcBef>
              <a:buFont typeface="Arial" panose="020B0604020202020204" pitchFamily="34" charset="0"/>
            </a:pPr>
            <a:r>
              <a:rPr lang="en-US" dirty="0"/>
              <a:t>YOUR TITLE</a:t>
            </a:r>
          </a:p>
        </p:txBody>
      </p:sp>
      <p:sp>
        <p:nvSpPr>
          <p:cNvPr id="5" name="Text Placeholder 4">
            <a:extLst>
              <a:ext uri="{FF2B5EF4-FFF2-40B4-BE49-F238E27FC236}">
                <a16:creationId xmlns:a16="http://schemas.microsoft.com/office/drawing/2014/main" id="{E2C02C6C-381F-CE48-B1C7-45378DCAA986}"/>
              </a:ext>
            </a:extLst>
          </p:cNvPr>
          <p:cNvSpPr>
            <a:spLocks noGrp="1"/>
          </p:cNvSpPr>
          <p:nvPr>
            <p:ph type="body" sz="quarter" idx="12" hasCustomPrompt="1"/>
          </p:nvPr>
        </p:nvSpPr>
        <p:spPr>
          <a:xfrm>
            <a:off x="1079500" y="1218201"/>
            <a:ext cx="10033000" cy="355601"/>
          </a:xfrm>
          <a:prstGeom prst="rect">
            <a:avLst/>
          </a:prstGeom>
        </p:spPr>
        <p:txBody>
          <a:bodyPr anchor="ctr"/>
          <a:lstStyle>
            <a:lvl1pPr marL="0" indent="0" algn="ctr">
              <a:buNone/>
              <a:defRPr lang="en-UA" sz="1867" kern="1200" spc="333" dirty="0">
                <a:solidFill>
                  <a:srgbClr val="858591"/>
                </a:solidFill>
                <a:latin typeface="Montserrat" panose="00000500000000000000" pitchFamily="2" charset="0"/>
                <a:ea typeface="Roboto Thin" pitchFamily="2" charset="0"/>
                <a:cs typeface="+mn-cs"/>
              </a:defRPr>
            </a:lvl1pPr>
          </a:lstStyle>
          <a:p>
            <a:pPr marL="0" lvl="0" algn="ctr" defTabSz="914446" rtl="0" eaLnBrk="1" latinLnBrk="0" hangingPunct="1"/>
            <a:r>
              <a:rPr lang="en-UA" dirty="0"/>
              <a:t>YOUR SUBTITLE</a:t>
            </a:r>
          </a:p>
        </p:txBody>
      </p:sp>
    </p:spTree>
    <p:extLst>
      <p:ext uri="{BB962C8B-B14F-4D97-AF65-F5344CB8AC3E}">
        <p14:creationId xmlns:p14="http://schemas.microsoft.com/office/powerpoint/2010/main" val="1898212170"/>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245305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4001"/>
            <a:ext cx="11271504"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1532"/>
            <a:ext cx="11271504"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405325461"/>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6936"/>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opyright">
            <a:extLst>
              <a:ext uri="{FF2B5EF4-FFF2-40B4-BE49-F238E27FC236}">
                <a16:creationId xmlns:a16="http://schemas.microsoft.com/office/drawing/2014/main" id="{CA24B28E-5B13-4779-8D72-C52A20B99FE7}"/>
              </a:ext>
            </a:extLst>
          </p:cNvPr>
          <p:cNvSpPr txBox="1"/>
          <p:nvPr userDrawn="1"/>
        </p:nvSpPr>
        <p:spPr>
          <a:xfrm>
            <a:off x="501649" y="6519673"/>
            <a:ext cx="5355168" cy="107722"/>
          </a:xfrm>
          <a:prstGeom prst="rect">
            <a:avLst/>
          </a:prstGeom>
          <a:noFill/>
        </p:spPr>
        <p:txBody>
          <a:bodyPr wrap="square" lIns="0" tIns="0" rIns="0" bIns="0" rtlCol="0">
            <a:spAutoFit/>
          </a:bodyPr>
          <a:lstStyle/>
          <a:p>
            <a:r>
              <a:rPr lang="en-US" sz="700" kern="1200">
                <a:solidFill>
                  <a:schemeClr val="bg1"/>
                </a:solidFill>
                <a:latin typeface="+mn-lt"/>
                <a:ea typeface="+mn-ea"/>
                <a:cs typeface="Calibri" panose="020F0502020204030204" pitchFamily="34" charset="0"/>
              </a:rPr>
              <a:t>©2021 Deloitte Vietnam Company Limited</a:t>
            </a:r>
            <a:endParaRPr lang="en-US" sz="700" kern="1200" dirty="0">
              <a:solidFill>
                <a:schemeClr val="bg1"/>
              </a:solidFill>
              <a:latin typeface="+mn-lt"/>
              <a:ea typeface="+mn-ea"/>
              <a:cs typeface="Calibri" panose="020F0502020204030204" pitchFamily="34" charset="0"/>
            </a:endParaRPr>
          </a:p>
        </p:txBody>
      </p:sp>
      <p:sp>
        <p:nvSpPr>
          <p:cNvPr id="13" name="CaseCode">
            <a:extLst>
              <a:ext uri="{FF2B5EF4-FFF2-40B4-BE49-F238E27FC236}">
                <a16:creationId xmlns:a16="http://schemas.microsoft.com/office/drawing/2014/main" id="{D39A514A-409D-470C-AE9C-EFB16BDA8C83}"/>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TextBox 13">
            <a:extLst>
              <a:ext uri="{FF2B5EF4-FFF2-40B4-BE49-F238E27FC236}">
                <a16:creationId xmlns:a16="http://schemas.microsoft.com/office/drawing/2014/main" id="{72A5EC33-1574-4E3A-89DA-3EC00A69C870}"/>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16343029"/>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1" y="1728217"/>
            <a:ext cx="112649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1" y="3474720"/>
            <a:ext cx="11264900"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3" name="Copyright">
            <a:extLst>
              <a:ext uri="{FF2B5EF4-FFF2-40B4-BE49-F238E27FC236}">
                <a16:creationId xmlns:a16="http://schemas.microsoft.com/office/drawing/2014/main" id="{1DC4A35C-6E5F-4D1C-8973-1C29CBAF765E}"/>
              </a:ext>
            </a:extLst>
          </p:cNvPr>
          <p:cNvSpPr txBox="1"/>
          <p:nvPr userDrawn="1"/>
        </p:nvSpPr>
        <p:spPr>
          <a:xfrm>
            <a:off x="501649" y="6519673"/>
            <a:ext cx="5355168" cy="107722"/>
          </a:xfrm>
          <a:prstGeom prst="rect">
            <a:avLst/>
          </a:prstGeom>
          <a:noFill/>
        </p:spPr>
        <p:txBody>
          <a:bodyPr wrap="square" lIns="0" tIns="0" rIns="0" bIns="0" rtlCol="0">
            <a:spAutoFit/>
          </a:bodyPr>
          <a:lstStyle/>
          <a:p>
            <a:r>
              <a:rPr lang="en-US" sz="700" kern="1200">
                <a:solidFill>
                  <a:schemeClr val="bg1"/>
                </a:solidFill>
                <a:latin typeface="+mn-lt"/>
                <a:ea typeface="+mn-ea"/>
                <a:cs typeface="Calibri" panose="020F0502020204030204" pitchFamily="34" charset="0"/>
              </a:rPr>
              <a:t>©2021 Deloitte Vietnam Company Limited</a:t>
            </a:r>
            <a:endParaRPr lang="en-US" sz="700" kern="1200" dirty="0">
              <a:solidFill>
                <a:schemeClr val="bg1"/>
              </a:solidFill>
              <a:latin typeface="+mn-lt"/>
              <a:ea typeface="+mn-ea"/>
              <a:cs typeface="Calibri" panose="020F0502020204030204" pitchFamily="34" charset="0"/>
            </a:endParaRPr>
          </a:p>
        </p:txBody>
      </p:sp>
      <p:sp>
        <p:nvSpPr>
          <p:cNvPr id="14" name="CaseCode">
            <a:extLst>
              <a:ext uri="{FF2B5EF4-FFF2-40B4-BE49-F238E27FC236}">
                <a16:creationId xmlns:a16="http://schemas.microsoft.com/office/drawing/2014/main" id="{5B6818A1-3235-4413-9665-6D922B35C666}"/>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dirty="0">
                <a:solidFill>
                  <a:schemeClr val="bg1"/>
                </a:solidFill>
                <a:latin typeface="Calibri" panose="020F0502020204030204" pitchFamily="34" charset="0"/>
                <a:cs typeface="Calibri" panose="020F0502020204030204" pitchFamily="34" charset="0"/>
              </a:rPr>
              <a:t>Presentation title</a:t>
            </a:r>
            <a:br>
              <a:rPr lang="en-US" sz="675" noProof="0" dirty="0">
                <a:solidFill>
                  <a:schemeClr val="bg1"/>
                </a:solidFill>
                <a:latin typeface="Calibri" panose="020F0502020204030204" pitchFamily="34" charset="0"/>
                <a:cs typeface="Calibri" panose="020F0502020204030204" pitchFamily="34" charset="0"/>
              </a:rPr>
            </a:br>
            <a:r>
              <a:rPr lang="en-US" sz="675"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CA87CE22-99C8-4AA1-B80A-420B68B7E283}"/>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1700981"/>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04AF6108-47E9-489A-A28A-88A6C754FB38}"/>
              </a:ext>
            </a:extLst>
          </p:cNvPr>
          <p:cNvSpPr txBox="1"/>
          <p:nvPr userDrawn="1"/>
        </p:nvSpPr>
        <p:spPr>
          <a:xfrm>
            <a:off x="501649" y="6519673"/>
            <a:ext cx="5355168" cy="92333"/>
          </a:xfrm>
          <a:prstGeom prst="rect">
            <a:avLst/>
          </a:prstGeom>
          <a:noFill/>
        </p:spPr>
        <p:txBody>
          <a:bodyPr wrap="square" lIns="0" tIns="0" rIns="0" bIns="0" rtlCol="0">
            <a:spAutoFit/>
          </a:bodyPr>
          <a:lstStyle/>
          <a:p>
            <a:r>
              <a:rPr lang="en-US" sz="600" kern="1200">
                <a:solidFill>
                  <a:schemeClr val="bg1"/>
                </a:solidFill>
                <a:latin typeface="+mn-lt"/>
                <a:ea typeface="+mn-ea"/>
                <a:cs typeface="Calibri" panose="020F0502020204030204" pitchFamily="34" charset="0"/>
              </a:rPr>
              <a:t>©2021 Deloitte Vietnam Company Limited</a:t>
            </a:r>
            <a:endParaRPr lang="en-US" sz="600" kern="1200" dirty="0">
              <a:solidFill>
                <a:schemeClr val="bg1"/>
              </a:solidFill>
              <a:latin typeface="+mn-lt"/>
              <a:ea typeface="+mn-ea"/>
              <a:cs typeface="Calibri" panose="020F0502020204030204" pitchFamily="34" charset="0"/>
            </a:endParaRPr>
          </a:p>
        </p:txBody>
      </p:sp>
      <p:sp>
        <p:nvSpPr>
          <p:cNvPr id="12" name="TextBox 11">
            <a:extLst>
              <a:ext uri="{FF2B5EF4-FFF2-40B4-BE49-F238E27FC236}">
                <a16:creationId xmlns:a16="http://schemas.microsoft.com/office/drawing/2014/main" id="{071386E3-7822-4155-91DC-3E38D96ED6CE}"/>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92333"/>
          </a:xfrm>
          <a:prstGeom prst="rect">
            <a:avLst/>
          </a:prstGeom>
          <a:noFill/>
        </p:spPr>
        <p:txBody>
          <a:bodyPr wrap="square" lIns="0" tIns="0" rIns="0" bIns="0" rtlCol="0">
            <a:spAutoFit/>
          </a:bodyPr>
          <a:lstStyle/>
          <a:p>
            <a:r>
              <a:rPr lang="en-US" sz="600" kern="1200">
                <a:solidFill>
                  <a:schemeClr val="bg1"/>
                </a:solidFill>
                <a:latin typeface="+mn-lt"/>
                <a:ea typeface="+mn-ea"/>
                <a:cs typeface="Calibri" panose="020F0502020204030204" pitchFamily="34" charset="0"/>
              </a:rPr>
              <a:t>©2021 Deloitte Vietnam Company Limited</a:t>
            </a:r>
            <a:endParaRPr lang="en-US" sz="600" kern="1200" dirty="0">
              <a:solidFill>
                <a:schemeClr val="bg1"/>
              </a:solidFill>
              <a:latin typeface="+mn-lt"/>
              <a:ea typeface="+mn-ea"/>
              <a:cs typeface="Calibri" panose="020F0502020204030204" pitchFamily="34" charset="0"/>
            </a:endParaRP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74"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457200" y="6515063"/>
            <a:ext cx="5355168" cy="107722"/>
          </a:xfrm>
          <a:prstGeom prst="rect">
            <a:avLst/>
          </a:prstGeom>
          <a:noFill/>
        </p:spPr>
        <p:txBody>
          <a:bodyPr wrap="square" lIns="0" tIns="0" rIns="0" bIns="0" rtlCol="0">
            <a:spAutoFit/>
          </a:bodyPr>
          <a:lstStyle/>
          <a:p>
            <a:r>
              <a:rPr lang="en-US" sz="700" kern="1200" dirty="0">
                <a:solidFill>
                  <a:schemeClr val="bg1">
                    <a:lumMod val="50000"/>
                  </a:schemeClr>
                </a:solidFill>
                <a:latin typeface="+mn-lt"/>
                <a:ea typeface="+mn-ea"/>
                <a:cs typeface="Calibri" panose="020F0502020204030204" pitchFamily="34" charset="0"/>
              </a:rPr>
              <a:t>©2021 Deloitte Vietnam Company Limited</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dirty="0">
              <a:solidFill>
                <a:schemeClr val="tx1"/>
              </a:solidFill>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3944" r:id="rId4"/>
    <p:sldLayoutId id="2147483949" r:id="rId5"/>
    <p:sldLayoutId id="2147483950" r:id="rId6"/>
    <p:sldLayoutId id="2147483951" r:id="rId7"/>
    <p:sldLayoutId id="2147483994" r:id="rId8"/>
    <p:sldLayoutId id="2147483995" r:id="rId9"/>
    <p:sldLayoutId id="2147483996" r:id="rId10"/>
    <p:sldLayoutId id="2147483997" r:id="rId11"/>
    <p:sldLayoutId id="2147483998" r:id="rId12"/>
    <p:sldLayoutId id="2147483999" r:id="rId13"/>
    <p:sldLayoutId id="2147484000" r:id="rId14"/>
    <p:sldLayoutId id="2147483952" r:id="rId15"/>
    <p:sldLayoutId id="2147483954" r:id="rId16"/>
    <p:sldLayoutId id="2147483955" r:id="rId17"/>
    <p:sldLayoutId id="2147483956" r:id="rId18"/>
    <p:sldLayoutId id="2147483957" r:id="rId19"/>
    <p:sldLayoutId id="2147483958" r:id="rId20"/>
    <p:sldLayoutId id="2147483959" r:id="rId21"/>
    <p:sldLayoutId id="2147483953"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73" r:id="rId31"/>
    <p:sldLayoutId id="2147483974" r:id="rId32"/>
    <p:sldLayoutId id="2147483975" r:id="rId33"/>
    <p:sldLayoutId id="2147484001" r:id="rId34"/>
    <p:sldLayoutId id="2147484002" r:id="rId35"/>
    <p:sldLayoutId id="2147484003" r:id="rId36"/>
    <p:sldLayoutId id="2147484004" r:id="rId37"/>
    <p:sldLayoutId id="2147484005" r:id="rId38"/>
    <p:sldLayoutId id="2147484006" r:id="rId39"/>
    <p:sldLayoutId id="2147483977" r:id="rId40"/>
    <p:sldLayoutId id="2147484007" r:id="rId41"/>
    <p:sldLayoutId id="2147484008" r:id="rId42"/>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975"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975"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975"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975"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69" orient="horz" pos="2184" userDrawn="1">
          <p15:clr>
            <a:srgbClr val="F26B43"/>
          </p15:clr>
        </p15:guide>
        <p15:guide id="70" orient="horz" pos="1080" userDrawn="1">
          <p15:clr>
            <a:srgbClr val="F26B43"/>
          </p15:clr>
        </p15:guide>
        <p15:guide id="71" orient="horz" pos="216" userDrawn="1">
          <p15:clr>
            <a:srgbClr val="F26B43"/>
          </p15:clr>
        </p15:guide>
        <p15:guide id="72" pos="3840" userDrawn="1">
          <p15:clr>
            <a:srgbClr val="F26B43"/>
          </p15:clr>
        </p15:guide>
        <p15:guide id="73" pos="3936" userDrawn="1">
          <p15:clr>
            <a:srgbClr val="F26B43"/>
          </p15:clr>
        </p15:guide>
        <p15:guide id="74" pos="288" userDrawn="1">
          <p15:clr>
            <a:srgbClr val="F26B43"/>
          </p15:clr>
        </p15:guide>
        <p15:guide id="75" pos="4960" userDrawn="1">
          <p15:clr>
            <a:srgbClr val="F26B43"/>
          </p15:clr>
        </p15:guide>
        <p15:guide id="76" pos="3744" userDrawn="1">
          <p15:clr>
            <a:srgbClr val="F26B43"/>
          </p15:clr>
        </p15:guide>
        <p15:guide id="77" pos="2720" userDrawn="1">
          <p15:clr>
            <a:srgbClr val="F26B43"/>
          </p15:clr>
        </p15:guide>
        <p15:guide id="78" pos="2528" userDrawn="1">
          <p15:clr>
            <a:srgbClr val="F26B43"/>
          </p15:clr>
        </p15:guide>
        <p15:guide id="79" pos="1312" userDrawn="1">
          <p15:clr>
            <a:srgbClr val="F26B43"/>
          </p15:clr>
        </p15:guide>
        <p15:guide id="80" pos="1504" userDrawn="1">
          <p15:clr>
            <a:srgbClr val="F26B43"/>
          </p15:clr>
        </p15:guide>
        <p15:guide id="81" pos="5152" userDrawn="1">
          <p15:clr>
            <a:srgbClr val="F26B43"/>
          </p15:clr>
        </p15:guide>
        <p15:guide id="82" pos="6176" userDrawn="1">
          <p15:clr>
            <a:srgbClr val="F26B43"/>
          </p15:clr>
        </p15:guide>
        <p15:guide id="83" pos="6368" userDrawn="1">
          <p15:clr>
            <a:srgbClr val="F26B43"/>
          </p15:clr>
        </p15:guide>
        <p15:guide id="84" pos="73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DA223011-6859-46B5-8FC0-31891E0DA634}"/>
              </a:ext>
            </a:extLst>
          </p:cNvPr>
          <p:cNvSpPr/>
          <p:nvPr/>
        </p:nvSpPr>
        <p:spPr>
          <a:xfrm>
            <a:off x="4449383" y="3588516"/>
            <a:ext cx="3293234" cy="1698073"/>
          </a:xfrm>
          <a:custGeom>
            <a:avLst/>
            <a:gdLst>
              <a:gd name="connsiteX0" fmla="*/ 0 w 3293234"/>
              <a:gd name="connsiteY0" fmla="*/ 0 h 1698073"/>
              <a:gd name="connsiteX1" fmla="*/ 3293234 w 3293234"/>
              <a:gd name="connsiteY1" fmla="*/ 0 h 1698073"/>
              <a:gd name="connsiteX2" fmla="*/ 3293234 w 3293234"/>
              <a:gd name="connsiteY2" fmla="*/ 1698073 h 1698073"/>
              <a:gd name="connsiteX3" fmla="*/ 0 w 3293234"/>
              <a:gd name="connsiteY3" fmla="*/ 1698073 h 1698073"/>
              <a:gd name="connsiteX4" fmla="*/ 0 w 3293234"/>
              <a:gd name="connsiteY4" fmla="*/ 0 h 1698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234" h="1698073">
                <a:moveTo>
                  <a:pt x="0" y="0"/>
                </a:moveTo>
                <a:lnTo>
                  <a:pt x="3293234" y="0"/>
                </a:lnTo>
                <a:lnTo>
                  <a:pt x="3293234" y="1698073"/>
                </a:lnTo>
                <a:lnTo>
                  <a:pt x="0" y="1698073"/>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en-US" sz="6500" kern="1200"/>
          </a:p>
        </p:txBody>
      </p:sp>
      <p:sp>
        <p:nvSpPr>
          <p:cNvPr id="10" name="Title 8">
            <a:extLst>
              <a:ext uri="{FF2B5EF4-FFF2-40B4-BE49-F238E27FC236}">
                <a16:creationId xmlns:a16="http://schemas.microsoft.com/office/drawing/2014/main" id="{8101D7AA-AF71-4944-B0DE-DA3C405B7ACD}"/>
              </a:ext>
            </a:extLst>
          </p:cNvPr>
          <p:cNvSpPr>
            <a:spLocks noGrp="1"/>
          </p:cNvSpPr>
          <p:nvPr>
            <p:ph type="ctrTitle"/>
          </p:nvPr>
        </p:nvSpPr>
        <p:spPr>
          <a:xfrm>
            <a:off x="1088571" y="4751113"/>
            <a:ext cx="9851571" cy="825508"/>
          </a:xfrm>
        </p:spPr>
        <p:txBody>
          <a:bodyPr/>
          <a:lstStyle/>
          <a:p>
            <a:r>
              <a:rPr lang="en-US" b="1">
                <a:latin typeface="+mj-lt"/>
              </a:rPr>
              <a:t>Chiến lược Ứng phó, Phục hồi và Phát triển/Hưng thịnh từ khủng khoảng</a:t>
            </a:r>
            <a:endParaRPr lang="en-US" b="1" dirty="0">
              <a:latin typeface="+mj-lt"/>
            </a:endParaRPr>
          </a:p>
        </p:txBody>
      </p:sp>
      <p:sp>
        <p:nvSpPr>
          <p:cNvPr id="9" name="Title 8">
            <a:extLst>
              <a:ext uri="{FF2B5EF4-FFF2-40B4-BE49-F238E27FC236}">
                <a16:creationId xmlns:a16="http://schemas.microsoft.com/office/drawing/2014/main" id="{9133C77D-438A-4DDE-87F8-26888C8DAACF}"/>
              </a:ext>
            </a:extLst>
          </p:cNvPr>
          <p:cNvSpPr txBox="1">
            <a:spLocks/>
          </p:cNvSpPr>
          <p:nvPr/>
        </p:nvSpPr>
        <p:spPr bwMode="gray">
          <a:xfrm>
            <a:off x="1088571" y="6402129"/>
            <a:ext cx="6481112" cy="455871"/>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nSpc>
                <a:spcPct val="100000"/>
              </a:lnSpc>
            </a:pPr>
            <a:r>
              <a:rPr lang="en-US" sz="1800" b="1">
                <a:solidFill>
                  <a:schemeClr val="tx1">
                    <a:lumMod val="65000"/>
                    <a:lumOff val="35000"/>
                  </a:schemeClr>
                </a:solidFill>
                <a:latin typeface="+mj-lt"/>
              </a:rPr>
              <a:t>Bà Hà Thu Thanh, </a:t>
            </a:r>
          </a:p>
          <a:p>
            <a:pPr>
              <a:lnSpc>
                <a:spcPct val="100000"/>
              </a:lnSpc>
            </a:pPr>
            <a:r>
              <a:rPr lang="en-US" sz="1800">
                <a:solidFill>
                  <a:schemeClr val="tx1">
                    <a:lumMod val="65000"/>
                    <a:lumOff val="35000"/>
                  </a:schemeClr>
                </a:solidFill>
                <a:latin typeface="+mj-lt"/>
              </a:rPr>
              <a:t>Chủ tịch Deloitte Việt Nam</a:t>
            </a:r>
          </a:p>
          <a:p>
            <a:pPr>
              <a:lnSpc>
                <a:spcPct val="100000"/>
              </a:lnSpc>
            </a:pPr>
            <a:r>
              <a:rPr lang="en-US" sz="1800">
                <a:solidFill>
                  <a:schemeClr val="tx1">
                    <a:lumMod val="65000"/>
                    <a:lumOff val="35000"/>
                  </a:schemeClr>
                </a:solidFill>
                <a:latin typeface="+mj-lt"/>
              </a:rPr>
              <a:t>Chủ tịch Viện thành viên Hội đồng Quản trị Việt Nam VIOD </a:t>
            </a:r>
          </a:p>
          <a:p>
            <a:pPr>
              <a:lnSpc>
                <a:spcPct val="100000"/>
              </a:lnSpc>
            </a:pPr>
            <a:r>
              <a:rPr lang="en-US" sz="1600" i="1">
                <a:solidFill>
                  <a:schemeClr val="tx1">
                    <a:lumMod val="65000"/>
                    <a:lumOff val="35000"/>
                  </a:schemeClr>
                </a:solidFill>
                <a:latin typeface="+mj-lt"/>
              </a:rPr>
              <a:t>Hà Nội, 08/09/2021</a:t>
            </a:r>
          </a:p>
        </p:txBody>
      </p:sp>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154010"/>
            <a:ext cx="1547608" cy="895983"/>
          </a:xfrm>
          <a:prstGeom prst="rect">
            <a:avLst/>
          </a:prstGeom>
        </p:spPr>
      </p:pic>
      <p:pic>
        <p:nvPicPr>
          <p:cNvPr id="3" name="Picture 2">
            <a:extLst>
              <a:ext uri="{FF2B5EF4-FFF2-40B4-BE49-F238E27FC236}">
                <a16:creationId xmlns:a16="http://schemas.microsoft.com/office/drawing/2014/main" id="{3F482AA1-1AF6-4F99-89EB-752BF0AB11D3}"/>
              </a:ext>
            </a:extLst>
          </p:cNvPr>
          <p:cNvPicPr>
            <a:picLocks noChangeAspect="1"/>
          </p:cNvPicPr>
          <p:nvPr/>
        </p:nvPicPr>
        <p:blipFill rotWithShape="1">
          <a:blip r:embed="rId4"/>
          <a:srcRect l="1128" r="1128"/>
          <a:stretch/>
        </p:blipFill>
        <p:spPr>
          <a:xfrm>
            <a:off x="3802852" y="243290"/>
            <a:ext cx="4217791" cy="4217791"/>
          </a:xfrm>
          <a:prstGeom prst="flowChartConnector">
            <a:avLst/>
          </a:prstGeom>
        </p:spPr>
      </p:pic>
    </p:spTree>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230210"/>
            <a:ext cx="1547608" cy="895983"/>
          </a:xfrm>
          <a:prstGeom prst="rect">
            <a:avLst/>
          </a:prstGeom>
        </p:spPr>
      </p:pic>
      <p:sp>
        <p:nvSpPr>
          <p:cNvPr id="13" name="Rectangle 12">
            <a:extLst>
              <a:ext uri="{FF2B5EF4-FFF2-40B4-BE49-F238E27FC236}">
                <a16:creationId xmlns:a16="http://schemas.microsoft.com/office/drawing/2014/main" id="{DDA49807-B2ED-4F6E-9F27-A0311D8217CF}"/>
              </a:ext>
            </a:extLst>
          </p:cNvPr>
          <p:cNvSpPr/>
          <p:nvPr/>
        </p:nvSpPr>
        <p:spPr>
          <a:xfrm>
            <a:off x="368936" y="6456323"/>
            <a:ext cx="1791196" cy="276999"/>
          </a:xfrm>
          <a:prstGeom prst="rect">
            <a:avLst/>
          </a:prstGeom>
        </p:spPr>
        <p:txBody>
          <a:bodyPr wrap="non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grpSp>
        <p:nvGrpSpPr>
          <p:cNvPr id="3" name="Group 2">
            <a:extLst>
              <a:ext uri="{FF2B5EF4-FFF2-40B4-BE49-F238E27FC236}">
                <a16:creationId xmlns:a16="http://schemas.microsoft.com/office/drawing/2014/main" id="{636779F5-977F-458D-A942-39ADAF195DC6}"/>
              </a:ext>
            </a:extLst>
          </p:cNvPr>
          <p:cNvGrpSpPr/>
          <p:nvPr/>
        </p:nvGrpSpPr>
        <p:grpSpPr>
          <a:xfrm>
            <a:off x="1518778" y="858059"/>
            <a:ext cx="8372382" cy="5141881"/>
            <a:chOff x="1507892" y="1275237"/>
            <a:chExt cx="8372382" cy="5141881"/>
          </a:xfrm>
        </p:grpSpPr>
        <p:sp>
          <p:nvSpPr>
            <p:cNvPr id="6" name="object 3">
              <a:extLst>
                <a:ext uri="{FF2B5EF4-FFF2-40B4-BE49-F238E27FC236}">
                  <a16:creationId xmlns:a16="http://schemas.microsoft.com/office/drawing/2014/main" id="{1BB87AD9-B945-4C1E-953C-1F4A74F7D8AC}"/>
                </a:ext>
              </a:extLst>
            </p:cNvPr>
            <p:cNvSpPr txBox="1"/>
            <p:nvPr/>
          </p:nvSpPr>
          <p:spPr>
            <a:xfrm>
              <a:off x="2233246" y="1275237"/>
              <a:ext cx="7628470" cy="505267"/>
            </a:xfrm>
            <a:prstGeom prst="rect">
              <a:avLst/>
            </a:prstGeom>
          </p:spPr>
          <p:txBody>
            <a:bodyPr vert="horz" wrap="square" lIns="0" tIns="12700" rIns="0" bIns="0" rtlCol="0">
              <a:spAutoFit/>
            </a:bodyPr>
            <a:lstStyle/>
            <a:p>
              <a:pPr marL="12700">
                <a:lnSpc>
                  <a:spcPct val="100000"/>
                </a:lnSpc>
                <a:spcBef>
                  <a:spcPts val="100"/>
                </a:spcBef>
              </a:pPr>
              <a:r>
                <a:rPr sz="3200" b="1" spc="-20" dirty="0">
                  <a:solidFill>
                    <a:schemeClr val="accent1"/>
                  </a:solidFill>
                  <a:cs typeface="Arial"/>
                </a:rPr>
                <a:t>Phẩm </a:t>
              </a:r>
              <a:r>
                <a:rPr sz="3200" b="1" spc="-5" dirty="0">
                  <a:solidFill>
                    <a:schemeClr val="accent1"/>
                  </a:solidFill>
                  <a:cs typeface="Arial"/>
                </a:rPr>
                <a:t>chất </a:t>
              </a:r>
              <a:r>
                <a:rPr sz="3200" b="1" spc="-15" dirty="0">
                  <a:solidFill>
                    <a:schemeClr val="accent1"/>
                  </a:solidFill>
                  <a:cs typeface="Arial"/>
                </a:rPr>
                <a:t>của </a:t>
              </a:r>
              <a:r>
                <a:rPr sz="3200" b="1" spc="5" dirty="0">
                  <a:solidFill>
                    <a:schemeClr val="accent1"/>
                  </a:solidFill>
                  <a:cs typeface="Arial"/>
                </a:rPr>
                <a:t>mộ</a:t>
              </a:r>
              <a:r>
                <a:rPr sz="3200" b="1" spc="5" dirty="0">
                  <a:solidFill>
                    <a:schemeClr val="accent1"/>
                  </a:solidFill>
                  <a:cs typeface="Noto Sans"/>
                </a:rPr>
                <a:t>t </a:t>
              </a:r>
              <a:r>
                <a:rPr sz="3200" b="1" dirty="0">
                  <a:solidFill>
                    <a:schemeClr val="accent1"/>
                  </a:solidFill>
                  <a:cs typeface="Arial"/>
                </a:rPr>
                <a:t>nhà </a:t>
              </a:r>
              <a:r>
                <a:rPr sz="3200" b="1" spc="-25" dirty="0">
                  <a:solidFill>
                    <a:schemeClr val="accent1"/>
                  </a:solidFill>
                  <a:cs typeface="Noto Sans"/>
                </a:rPr>
                <a:t>l</a:t>
              </a:r>
              <a:r>
                <a:rPr sz="3200" b="1" spc="-25" dirty="0">
                  <a:solidFill>
                    <a:schemeClr val="accent1"/>
                  </a:solidFill>
                  <a:cs typeface="Arial"/>
                </a:rPr>
                <a:t>ã</a:t>
              </a:r>
              <a:r>
                <a:rPr sz="3200" b="1" spc="-25" dirty="0">
                  <a:solidFill>
                    <a:schemeClr val="accent1"/>
                  </a:solidFill>
                  <a:cs typeface="Noto Sans"/>
                </a:rPr>
                <a:t>n</a:t>
              </a:r>
              <a:r>
                <a:rPr sz="3200" b="1" spc="-25" dirty="0">
                  <a:solidFill>
                    <a:schemeClr val="accent1"/>
                  </a:solidFill>
                  <a:cs typeface="Arial"/>
                </a:rPr>
                <a:t>h </a:t>
              </a:r>
              <a:r>
                <a:rPr sz="3200" b="1" spc="-15" dirty="0">
                  <a:solidFill>
                    <a:schemeClr val="accent1"/>
                  </a:solidFill>
                  <a:cs typeface="Arial"/>
                </a:rPr>
                <a:t>đạ</a:t>
              </a:r>
              <a:r>
                <a:rPr sz="3200" b="1" spc="-15" dirty="0">
                  <a:solidFill>
                    <a:schemeClr val="accent1"/>
                  </a:solidFill>
                  <a:cs typeface="Noto Sans"/>
                </a:rPr>
                <a:t>o </a:t>
              </a:r>
              <a:r>
                <a:rPr sz="3200" b="1" spc="-30">
                  <a:solidFill>
                    <a:schemeClr val="accent1"/>
                  </a:solidFill>
                  <a:cs typeface="Arial"/>
                </a:rPr>
                <a:t>k</a:t>
              </a:r>
              <a:r>
                <a:rPr sz="3200" b="1" spc="-30">
                  <a:solidFill>
                    <a:schemeClr val="accent1"/>
                  </a:solidFill>
                  <a:cs typeface="Noto Sans"/>
                </a:rPr>
                <a:t>i</a:t>
              </a:r>
              <a:r>
                <a:rPr sz="3200" b="1" spc="-30">
                  <a:solidFill>
                    <a:schemeClr val="accent1"/>
                  </a:solidFill>
                  <a:cs typeface="Arial"/>
                </a:rPr>
                <a:t>ê</a:t>
              </a:r>
              <a:r>
                <a:rPr sz="3200" b="1" spc="-30">
                  <a:solidFill>
                    <a:schemeClr val="accent1"/>
                  </a:solidFill>
                  <a:cs typeface="Noto Sans"/>
                </a:rPr>
                <a:t>n </a:t>
              </a:r>
              <a:r>
                <a:rPr lang="en-US" sz="3200" b="1" spc="-55">
                  <a:solidFill>
                    <a:schemeClr val="accent1"/>
                  </a:solidFill>
                  <a:cs typeface="Arial"/>
                </a:rPr>
                <a:t>tâm</a:t>
              </a:r>
              <a:endParaRPr sz="3200" b="1">
                <a:solidFill>
                  <a:schemeClr val="accent1"/>
                </a:solidFill>
                <a:cs typeface="Noto Sans"/>
              </a:endParaRPr>
            </a:p>
          </p:txBody>
        </p:sp>
        <p:grpSp>
          <p:nvGrpSpPr>
            <p:cNvPr id="10" name="object 7">
              <a:extLst>
                <a:ext uri="{FF2B5EF4-FFF2-40B4-BE49-F238E27FC236}">
                  <a16:creationId xmlns:a16="http://schemas.microsoft.com/office/drawing/2014/main" id="{1B5E8F18-757D-4BC1-B4F3-ACA884CDDCBF}"/>
                </a:ext>
              </a:extLst>
            </p:cNvPr>
            <p:cNvGrpSpPr/>
            <p:nvPr/>
          </p:nvGrpSpPr>
          <p:grpSpPr>
            <a:xfrm>
              <a:off x="1625903" y="2167043"/>
              <a:ext cx="5778470" cy="3681004"/>
              <a:chOff x="359994" y="1439164"/>
              <a:chExt cx="4833620" cy="3079115"/>
            </a:xfrm>
          </p:grpSpPr>
          <p:sp>
            <p:nvSpPr>
              <p:cNvPr id="12" name="object 8">
                <a:extLst>
                  <a:ext uri="{FF2B5EF4-FFF2-40B4-BE49-F238E27FC236}">
                    <a16:creationId xmlns:a16="http://schemas.microsoft.com/office/drawing/2014/main" id="{67673FD2-6C57-49F8-B78B-FDF3C0D5EE49}"/>
                  </a:ext>
                </a:extLst>
              </p:cNvPr>
              <p:cNvSpPr/>
              <p:nvPr/>
            </p:nvSpPr>
            <p:spPr>
              <a:xfrm>
                <a:off x="3841686" y="3128279"/>
                <a:ext cx="1332230" cy="1369060"/>
              </a:xfrm>
              <a:custGeom>
                <a:avLst/>
                <a:gdLst/>
                <a:ahLst/>
                <a:cxnLst/>
                <a:rect l="l" t="t" r="r" b="b"/>
                <a:pathLst>
                  <a:path w="1332229" h="1369060">
                    <a:moveTo>
                      <a:pt x="0" y="1368590"/>
                    </a:moveTo>
                    <a:lnTo>
                      <a:pt x="48442" y="1365174"/>
                    </a:lnTo>
                    <a:lnTo>
                      <a:pt x="96420" y="1360139"/>
                    </a:lnTo>
                    <a:lnTo>
                      <a:pt x="143906" y="1353513"/>
                    </a:lnTo>
                    <a:lnTo>
                      <a:pt x="190873" y="1345322"/>
                    </a:lnTo>
                    <a:lnTo>
                      <a:pt x="237294" y="1335594"/>
                    </a:lnTo>
                    <a:lnTo>
                      <a:pt x="283140" y="1324356"/>
                    </a:lnTo>
                    <a:lnTo>
                      <a:pt x="328386" y="1311635"/>
                    </a:lnTo>
                    <a:lnTo>
                      <a:pt x="373003" y="1297460"/>
                    </a:lnTo>
                    <a:lnTo>
                      <a:pt x="416964" y="1281857"/>
                    </a:lnTo>
                    <a:lnTo>
                      <a:pt x="460241" y="1264853"/>
                    </a:lnTo>
                    <a:lnTo>
                      <a:pt x="502808" y="1246476"/>
                    </a:lnTo>
                    <a:lnTo>
                      <a:pt x="544637" y="1226754"/>
                    </a:lnTo>
                    <a:lnTo>
                      <a:pt x="585701" y="1205713"/>
                    </a:lnTo>
                    <a:lnTo>
                      <a:pt x="625972" y="1183381"/>
                    </a:lnTo>
                    <a:lnTo>
                      <a:pt x="665424" y="1159786"/>
                    </a:lnTo>
                    <a:lnTo>
                      <a:pt x="704027" y="1134954"/>
                    </a:lnTo>
                    <a:lnTo>
                      <a:pt x="741756" y="1108914"/>
                    </a:lnTo>
                    <a:lnTo>
                      <a:pt x="778583" y="1081692"/>
                    </a:lnTo>
                    <a:lnTo>
                      <a:pt x="814481" y="1053315"/>
                    </a:lnTo>
                    <a:lnTo>
                      <a:pt x="849422" y="1023812"/>
                    </a:lnTo>
                    <a:lnTo>
                      <a:pt x="883378" y="993209"/>
                    </a:lnTo>
                    <a:lnTo>
                      <a:pt x="916323" y="961534"/>
                    </a:lnTo>
                    <a:lnTo>
                      <a:pt x="948230" y="928815"/>
                    </a:lnTo>
                    <a:lnTo>
                      <a:pt x="979070" y="895077"/>
                    </a:lnTo>
                    <a:lnTo>
                      <a:pt x="1008817" y="860350"/>
                    </a:lnTo>
                    <a:lnTo>
                      <a:pt x="1037442" y="824660"/>
                    </a:lnTo>
                    <a:lnTo>
                      <a:pt x="1064920" y="788034"/>
                    </a:lnTo>
                    <a:lnTo>
                      <a:pt x="1091222" y="750501"/>
                    </a:lnTo>
                    <a:lnTo>
                      <a:pt x="1116321" y="712086"/>
                    </a:lnTo>
                    <a:lnTo>
                      <a:pt x="1140190" y="672819"/>
                    </a:lnTo>
                    <a:lnTo>
                      <a:pt x="1162801" y="632725"/>
                    </a:lnTo>
                    <a:lnTo>
                      <a:pt x="1184127" y="591833"/>
                    </a:lnTo>
                    <a:lnTo>
                      <a:pt x="1204141" y="550169"/>
                    </a:lnTo>
                    <a:lnTo>
                      <a:pt x="1222815" y="507761"/>
                    </a:lnTo>
                    <a:lnTo>
                      <a:pt x="1240122" y="464637"/>
                    </a:lnTo>
                    <a:lnTo>
                      <a:pt x="1256034" y="420824"/>
                    </a:lnTo>
                    <a:lnTo>
                      <a:pt x="1270525" y="376348"/>
                    </a:lnTo>
                    <a:lnTo>
                      <a:pt x="1283567" y="331239"/>
                    </a:lnTo>
                    <a:lnTo>
                      <a:pt x="1295133" y="285521"/>
                    </a:lnTo>
                    <a:lnTo>
                      <a:pt x="1305194" y="239224"/>
                    </a:lnTo>
                    <a:lnTo>
                      <a:pt x="1313725" y="192375"/>
                    </a:lnTo>
                    <a:lnTo>
                      <a:pt x="1320697" y="145001"/>
                    </a:lnTo>
                    <a:lnTo>
                      <a:pt x="1326083" y="97128"/>
                    </a:lnTo>
                    <a:lnTo>
                      <a:pt x="1329856" y="48785"/>
                    </a:lnTo>
                    <a:lnTo>
                      <a:pt x="1331988" y="0"/>
                    </a:lnTo>
                  </a:path>
                </a:pathLst>
              </a:custGeom>
              <a:ln w="38099">
                <a:solidFill>
                  <a:srgbClr val="33B34A"/>
                </a:solidFill>
                <a:prstDash val="dot"/>
              </a:ln>
            </p:spPr>
            <p:txBody>
              <a:bodyPr wrap="square" lIns="0" tIns="0" rIns="0" bIns="0" rtlCol="0"/>
              <a:lstStyle/>
              <a:p>
                <a:endParaRPr/>
              </a:p>
            </p:txBody>
          </p:sp>
          <p:sp>
            <p:nvSpPr>
              <p:cNvPr id="15" name="object 9">
                <a:extLst>
                  <a:ext uri="{FF2B5EF4-FFF2-40B4-BE49-F238E27FC236}">
                    <a16:creationId xmlns:a16="http://schemas.microsoft.com/office/drawing/2014/main" id="{21EFC37F-E022-4083-9AC1-B65C7C80DAB4}"/>
                  </a:ext>
                </a:extLst>
              </p:cNvPr>
              <p:cNvSpPr/>
              <p:nvPr/>
            </p:nvSpPr>
            <p:spPr>
              <a:xfrm>
                <a:off x="3803561" y="1681861"/>
                <a:ext cx="1369060" cy="1332230"/>
              </a:xfrm>
              <a:custGeom>
                <a:avLst/>
                <a:gdLst/>
                <a:ahLst/>
                <a:cxnLst/>
                <a:rect l="l" t="t" r="r" b="b"/>
                <a:pathLst>
                  <a:path w="1369060" h="1332230">
                    <a:moveTo>
                      <a:pt x="1368590" y="1331988"/>
                    </a:moveTo>
                    <a:lnTo>
                      <a:pt x="1365174" y="1283546"/>
                    </a:lnTo>
                    <a:lnTo>
                      <a:pt x="1360139" y="1235568"/>
                    </a:lnTo>
                    <a:lnTo>
                      <a:pt x="1353513" y="1188082"/>
                    </a:lnTo>
                    <a:lnTo>
                      <a:pt x="1345322" y="1141115"/>
                    </a:lnTo>
                    <a:lnTo>
                      <a:pt x="1335594" y="1094694"/>
                    </a:lnTo>
                    <a:lnTo>
                      <a:pt x="1324356" y="1048847"/>
                    </a:lnTo>
                    <a:lnTo>
                      <a:pt x="1311635" y="1003602"/>
                    </a:lnTo>
                    <a:lnTo>
                      <a:pt x="1297460" y="958985"/>
                    </a:lnTo>
                    <a:lnTo>
                      <a:pt x="1281857" y="915024"/>
                    </a:lnTo>
                    <a:lnTo>
                      <a:pt x="1264853" y="871746"/>
                    </a:lnTo>
                    <a:lnTo>
                      <a:pt x="1246476" y="829179"/>
                    </a:lnTo>
                    <a:lnTo>
                      <a:pt x="1226754" y="787350"/>
                    </a:lnTo>
                    <a:lnTo>
                      <a:pt x="1205713" y="746286"/>
                    </a:lnTo>
                    <a:lnTo>
                      <a:pt x="1183381" y="706015"/>
                    </a:lnTo>
                    <a:lnTo>
                      <a:pt x="1159786" y="666564"/>
                    </a:lnTo>
                    <a:lnTo>
                      <a:pt x="1134954" y="627960"/>
                    </a:lnTo>
                    <a:lnTo>
                      <a:pt x="1108914" y="590231"/>
                    </a:lnTo>
                    <a:lnTo>
                      <a:pt x="1081692" y="553404"/>
                    </a:lnTo>
                    <a:lnTo>
                      <a:pt x="1053315" y="517507"/>
                    </a:lnTo>
                    <a:lnTo>
                      <a:pt x="1023812" y="482566"/>
                    </a:lnTo>
                    <a:lnTo>
                      <a:pt x="993209" y="448609"/>
                    </a:lnTo>
                    <a:lnTo>
                      <a:pt x="961534" y="415664"/>
                    </a:lnTo>
                    <a:lnTo>
                      <a:pt x="928815" y="383758"/>
                    </a:lnTo>
                    <a:lnTo>
                      <a:pt x="895077" y="352918"/>
                    </a:lnTo>
                    <a:lnTo>
                      <a:pt x="860350" y="323171"/>
                    </a:lnTo>
                    <a:lnTo>
                      <a:pt x="824660" y="294545"/>
                    </a:lnTo>
                    <a:lnTo>
                      <a:pt x="788034" y="267068"/>
                    </a:lnTo>
                    <a:lnTo>
                      <a:pt x="750501" y="240766"/>
                    </a:lnTo>
                    <a:lnTo>
                      <a:pt x="712086" y="215667"/>
                    </a:lnTo>
                    <a:lnTo>
                      <a:pt x="672819" y="191798"/>
                    </a:lnTo>
                    <a:lnTo>
                      <a:pt x="632725" y="169187"/>
                    </a:lnTo>
                    <a:lnTo>
                      <a:pt x="591833" y="147861"/>
                    </a:lnTo>
                    <a:lnTo>
                      <a:pt x="550169" y="127847"/>
                    </a:lnTo>
                    <a:lnTo>
                      <a:pt x="507761" y="109173"/>
                    </a:lnTo>
                    <a:lnTo>
                      <a:pt x="464637" y="91866"/>
                    </a:lnTo>
                    <a:lnTo>
                      <a:pt x="420824" y="75953"/>
                    </a:lnTo>
                    <a:lnTo>
                      <a:pt x="376348" y="61462"/>
                    </a:lnTo>
                    <a:lnTo>
                      <a:pt x="331239" y="48421"/>
                    </a:lnTo>
                    <a:lnTo>
                      <a:pt x="285521" y="36855"/>
                    </a:lnTo>
                    <a:lnTo>
                      <a:pt x="239224" y="26793"/>
                    </a:lnTo>
                    <a:lnTo>
                      <a:pt x="192375" y="18263"/>
                    </a:lnTo>
                    <a:lnTo>
                      <a:pt x="145001" y="11291"/>
                    </a:lnTo>
                    <a:lnTo>
                      <a:pt x="97128" y="5905"/>
                    </a:lnTo>
                    <a:lnTo>
                      <a:pt x="48785" y="2132"/>
                    </a:lnTo>
                    <a:lnTo>
                      <a:pt x="0" y="0"/>
                    </a:lnTo>
                  </a:path>
                </a:pathLst>
              </a:custGeom>
              <a:ln w="38099">
                <a:solidFill>
                  <a:srgbClr val="33B34A"/>
                </a:solidFill>
                <a:prstDash val="dot"/>
              </a:ln>
            </p:spPr>
            <p:txBody>
              <a:bodyPr wrap="square" lIns="0" tIns="0" rIns="0" bIns="0" rtlCol="0"/>
              <a:lstStyle/>
              <a:p>
                <a:endParaRPr/>
              </a:p>
            </p:txBody>
          </p:sp>
          <p:sp>
            <p:nvSpPr>
              <p:cNvPr id="16" name="object 10">
                <a:extLst>
                  <a:ext uri="{FF2B5EF4-FFF2-40B4-BE49-F238E27FC236}">
                    <a16:creationId xmlns:a16="http://schemas.microsoft.com/office/drawing/2014/main" id="{445C5D35-2229-4997-B57C-E87E85801821}"/>
                  </a:ext>
                </a:extLst>
              </p:cNvPr>
              <p:cNvSpPr/>
              <p:nvPr/>
            </p:nvSpPr>
            <p:spPr>
              <a:xfrm>
                <a:off x="3765397" y="1681353"/>
                <a:ext cx="1409065" cy="1409065"/>
              </a:xfrm>
              <a:custGeom>
                <a:avLst/>
                <a:gdLst/>
                <a:ahLst/>
                <a:cxnLst/>
                <a:rect l="l" t="t" r="r" b="b"/>
                <a:pathLst>
                  <a:path w="1409064" h="1409064">
                    <a:moveTo>
                      <a:pt x="1408772" y="1408772"/>
                    </a:moveTo>
                    <a:lnTo>
                      <a:pt x="1408772" y="1408772"/>
                    </a:lnTo>
                  </a:path>
                  <a:path w="1409064" h="1409064">
                    <a:moveTo>
                      <a:pt x="0" y="0"/>
                    </a:moveTo>
                    <a:lnTo>
                      <a:pt x="0" y="0"/>
                    </a:lnTo>
                  </a:path>
                </a:pathLst>
              </a:custGeom>
              <a:ln w="38100">
                <a:solidFill>
                  <a:srgbClr val="33B34A"/>
                </a:solidFill>
              </a:ln>
            </p:spPr>
            <p:txBody>
              <a:bodyPr wrap="square" lIns="0" tIns="0" rIns="0" bIns="0" rtlCol="0"/>
              <a:lstStyle/>
              <a:p>
                <a:endParaRPr/>
              </a:p>
            </p:txBody>
          </p:sp>
          <p:sp>
            <p:nvSpPr>
              <p:cNvPr id="17" name="object 11">
                <a:extLst>
                  <a:ext uri="{FF2B5EF4-FFF2-40B4-BE49-F238E27FC236}">
                    <a16:creationId xmlns:a16="http://schemas.microsoft.com/office/drawing/2014/main" id="{E21831FC-28A4-4283-8FC1-B8A2A05D39C5}"/>
                  </a:ext>
                </a:extLst>
              </p:cNvPr>
              <p:cNvSpPr/>
              <p:nvPr/>
            </p:nvSpPr>
            <p:spPr>
              <a:xfrm>
                <a:off x="2357132" y="1683385"/>
                <a:ext cx="1332230" cy="1369060"/>
              </a:xfrm>
              <a:custGeom>
                <a:avLst/>
                <a:gdLst/>
                <a:ahLst/>
                <a:cxnLst/>
                <a:rect l="l" t="t" r="r" b="b"/>
                <a:pathLst>
                  <a:path w="1332229" h="1369060">
                    <a:moveTo>
                      <a:pt x="1331988" y="0"/>
                    </a:moveTo>
                    <a:lnTo>
                      <a:pt x="1283546" y="3415"/>
                    </a:lnTo>
                    <a:lnTo>
                      <a:pt x="1235568" y="8450"/>
                    </a:lnTo>
                    <a:lnTo>
                      <a:pt x="1188082" y="15076"/>
                    </a:lnTo>
                    <a:lnTo>
                      <a:pt x="1141115" y="23267"/>
                    </a:lnTo>
                    <a:lnTo>
                      <a:pt x="1094694" y="32995"/>
                    </a:lnTo>
                    <a:lnTo>
                      <a:pt x="1048847" y="44233"/>
                    </a:lnTo>
                    <a:lnTo>
                      <a:pt x="1003602" y="56954"/>
                    </a:lnTo>
                    <a:lnTo>
                      <a:pt x="958985" y="71129"/>
                    </a:lnTo>
                    <a:lnTo>
                      <a:pt x="915024" y="86732"/>
                    </a:lnTo>
                    <a:lnTo>
                      <a:pt x="871746" y="103736"/>
                    </a:lnTo>
                    <a:lnTo>
                      <a:pt x="829179" y="122113"/>
                    </a:lnTo>
                    <a:lnTo>
                      <a:pt x="787350" y="141835"/>
                    </a:lnTo>
                    <a:lnTo>
                      <a:pt x="746286" y="162876"/>
                    </a:lnTo>
                    <a:lnTo>
                      <a:pt x="706015" y="185208"/>
                    </a:lnTo>
                    <a:lnTo>
                      <a:pt x="666564" y="208803"/>
                    </a:lnTo>
                    <a:lnTo>
                      <a:pt x="627960" y="233635"/>
                    </a:lnTo>
                    <a:lnTo>
                      <a:pt x="590231" y="259675"/>
                    </a:lnTo>
                    <a:lnTo>
                      <a:pt x="553404" y="286897"/>
                    </a:lnTo>
                    <a:lnTo>
                      <a:pt x="517507" y="315274"/>
                    </a:lnTo>
                    <a:lnTo>
                      <a:pt x="482566" y="344777"/>
                    </a:lnTo>
                    <a:lnTo>
                      <a:pt x="448609" y="375380"/>
                    </a:lnTo>
                    <a:lnTo>
                      <a:pt x="415664" y="407055"/>
                    </a:lnTo>
                    <a:lnTo>
                      <a:pt x="383758" y="439775"/>
                    </a:lnTo>
                    <a:lnTo>
                      <a:pt x="352918" y="473512"/>
                    </a:lnTo>
                    <a:lnTo>
                      <a:pt x="323171" y="508239"/>
                    </a:lnTo>
                    <a:lnTo>
                      <a:pt x="294545" y="543929"/>
                    </a:lnTo>
                    <a:lnTo>
                      <a:pt x="267068" y="580555"/>
                    </a:lnTo>
                    <a:lnTo>
                      <a:pt x="240766" y="618088"/>
                    </a:lnTo>
                    <a:lnTo>
                      <a:pt x="215667" y="656503"/>
                    </a:lnTo>
                    <a:lnTo>
                      <a:pt x="191798" y="695770"/>
                    </a:lnTo>
                    <a:lnTo>
                      <a:pt x="169187" y="735864"/>
                    </a:lnTo>
                    <a:lnTo>
                      <a:pt x="147861" y="776756"/>
                    </a:lnTo>
                    <a:lnTo>
                      <a:pt x="127847" y="818420"/>
                    </a:lnTo>
                    <a:lnTo>
                      <a:pt x="109173" y="860828"/>
                    </a:lnTo>
                    <a:lnTo>
                      <a:pt x="91866" y="903952"/>
                    </a:lnTo>
                    <a:lnTo>
                      <a:pt x="75953" y="947765"/>
                    </a:lnTo>
                    <a:lnTo>
                      <a:pt x="61462" y="992241"/>
                    </a:lnTo>
                    <a:lnTo>
                      <a:pt x="48421" y="1037351"/>
                    </a:lnTo>
                    <a:lnTo>
                      <a:pt x="36855" y="1083068"/>
                    </a:lnTo>
                    <a:lnTo>
                      <a:pt x="26793" y="1129365"/>
                    </a:lnTo>
                    <a:lnTo>
                      <a:pt x="18263" y="1176214"/>
                    </a:lnTo>
                    <a:lnTo>
                      <a:pt x="11291" y="1223589"/>
                    </a:lnTo>
                    <a:lnTo>
                      <a:pt x="5905" y="1271461"/>
                    </a:lnTo>
                    <a:lnTo>
                      <a:pt x="2132" y="1319804"/>
                    </a:lnTo>
                    <a:lnTo>
                      <a:pt x="0" y="1368590"/>
                    </a:lnTo>
                  </a:path>
                </a:pathLst>
              </a:custGeom>
              <a:ln w="38099">
                <a:solidFill>
                  <a:srgbClr val="33B34A"/>
                </a:solidFill>
                <a:prstDash val="dot"/>
              </a:ln>
            </p:spPr>
            <p:txBody>
              <a:bodyPr wrap="square" lIns="0" tIns="0" rIns="0" bIns="0" rtlCol="0"/>
              <a:lstStyle/>
              <a:p>
                <a:endParaRPr/>
              </a:p>
            </p:txBody>
          </p:sp>
          <p:sp>
            <p:nvSpPr>
              <p:cNvPr id="18" name="object 12">
                <a:extLst>
                  <a:ext uri="{FF2B5EF4-FFF2-40B4-BE49-F238E27FC236}">
                    <a16:creationId xmlns:a16="http://schemas.microsoft.com/office/drawing/2014/main" id="{E06124D5-0CA9-4B2A-ADFF-463C8BC70B59}"/>
                  </a:ext>
                </a:extLst>
              </p:cNvPr>
              <p:cNvSpPr/>
              <p:nvPr/>
            </p:nvSpPr>
            <p:spPr>
              <a:xfrm>
                <a:off x="2358656" y="3166402"/>
                <a:ext cx="1369060" cy="1332230"/>
              </a:xfrm>
              <a:custGeom>
                <a:avLst/>
                <a:gdLst/>
                <a:ahLst/>
                <a:cxnLst/>
                <a:rect l="l" t="t" r="r" b="b"/>
                <a:pathLst>
                  <a:path w="1369060" h="1332229">
                    <a:moveTo>
                      <a:pt x="0" y="0"/>
                    </a:moveTo>
                    <a:lnTo>
                      <a:pt x="3415" y="48442"/>
                    </a:lnTo>
                    <a:lnTo>
                      <a:pt x="8450" y="96420"/>
                    </a:lnTo>
                    <a:lnTo>
                      <a:pt x="15076" y="143906"/>
                    </a:lnTo>
                    <a:lnTo>
                      <a:pt x="23267" y="190873"/>
                    </a:lnTo>
                    <a:lnTo>
                      <a:pt x="32995" y="237294"/>
                    </a:lnTo>
                    <a:lnTo>
                      <a:pt x="44233" y="283140"/>
                    </a:lnTo>
                    <a:lnTo>
                      <a:pt x="56954" y="328386"/>
                    </a:lnTo>
                    <a:lnTo>
                      <a:pt x="71129" y="373003"/>
                    </a:lnTo>
                    <a:lnTo>
                      <a:pt x="86732" y="416964"/>
                    </a:lnTo>
                    <a:lnTo>
                      <a:pt x="103736" y="460241"/>
                    </a:lnTo>
                    <a:lnTo>
                      <a:pt x="122113" y="502808"/>
                    </a:lnTo>
                    <a:lnTo>
                      <a:pt x="141835" y="544637"/>
                    </a:lnTo>
                    <a:lnTo>
                      <a:pt x="162876" y="585701"/>
                    </a:lnTo>
                    <a:lnTo>
                      <a:pt x="185208" y="625972"/>
                    </a:lnTo>
                    <a:lnTo>
                      <a:pt x="208803" y="665424"/>
                    </a:lnTo>
                    <a:lnTo>
                      <a:pt x="233635" y="704027"/>
                    </a:lnTo>
                    <a:lnTo>
                      <a:pt x="259675" y="741756"/>
                    </a:lnTo>
                    <a:lnTo>
                      <a:pt x="286897" y="778583"/>
                    </a:lnTo>
                    <a:lnTo>
                      <a:pt x="315274" y="814481"/>
                    </a:lnTo>
                    <a:lnTo>
                      <a:pt x="344777" y="849422"/>
                    </a:lnTo>
                    <a:lnTo>
                      <a:pt x="375380" y="883378"/>
                    </a:lnTo>
                    <a:lnTo>
                      <a:pt x="407055" y="916323"/>
                    </a:lnTo>
                    <a:lnTo>
                      <a:pt x="439775" y="948230"/>
                    </a:lnTo>
                    <a:lnTo>
                      <a:pt x="473512" y="979070"/>
                    </a:lnTo>
                    <a:lnTo>
                      <a:pt x="508239" y="1008817"/>
                    </a:lnTo>
                    <a:lnTo>
                      <a:pt x="543929" y="1037442"/>
                    </a:lnTo>
                    <a:lnTo>
                      <a:pt x="580555" y="1064920"/>
                    </a:lnTo>
                    <a:lnTo>
                      <a:pt x="618088" y="1091222"/>
                    </a:lnTo>
                    <a:lnTo>
                      <a:pt x="656503" y="1116321"/>
                    </a:lnTo>
                    <a:lnTo>
                      <a:pt x="695770" y="1140190"/>
                    </a:lnTo>
                    <a:lnTo>
                      <a:pt x="735864" y="1162801"/>
                    </a:lnTo>
                    <a:lnTo>
                      <a:pt x="776756" y="1184127"/>
                    </a:lnTo>
                    <a:lnTo>
                      <a:pt x="818420" y="1204141"/>
                    </a:lnTo>
                    <a:lnTo>
                      <a:pt x="860828" y="1222815"/>
                    </a:lnTo>
                    <a:lnTo>
                      <a:pt x="903952" y="1240122"/>
                    </a:lnTo>
                    <a:lnTo>
                      <a:pt x="947765" y="1256034"/>
                    </a:lnTo>
                    <a:lnTo>
                      <a:pt x="992241" y="1270525"/>
                    </a:lnTo>
                    <a:lnTo>
                      <a:pt x="1037351" y="1283567"/>
                    </a:lnTo>
                    <a:lnTo>
                      <a:pt x="1083068" y="1295133"/>
                    </a:lnTo>
                    <a:lnTo>
                      <a:pt x="1129365" y="1305194"/>
                    </a:lnTo>
                    <a:lnTo>
                      <a:pt x="1176214" y="1313725"/>
                    </a:lnTo>
                    <a:lnTo>
                      <a:pt x="1223589" y="1320697"/>
                    </a:lnTo>
                    <a:lnTo>
                      <a:pt x="1271461" y="1326083"/>
                    </a:lnTo>
                    <a:lnTo>
                      <a:pt x="1319804" y="1329856"/>
                    </a:lnTo>
                    <a:lnTo>
                      <a:pt x="1368590" y="1331988"/>
                    </a:lnTo>
                  </a:path>
                </a:pathLst>
              </a:custGeom>
              <a:ln w="38099">
                <a:solidFill>
                  <a:srgbClr val="33B34A"/>
                </a:solidFill>
                <a:prstDash val="dot"/>
              </a:ln>
            </p:spPr>
            <p:txBody>
              <a:bodyPr wrap="square" lIns="0" tIns="0" rIns="0" bIns="0" rtlCol="0"/>
              <a:lstStyle/>
              <a:p>
                <a:endParaRPr/>
              </a:p>
            </p:txBody>
          </p:sp>
          <p:sp>
            <p:nvSpPr>
              <p:cNvPr id="19" name="object 13">
                <a:extLst>
                  <a:ext uri="{FF2B5EF4-FFF2-40B4-BE49-F238E27FC236}">
                    <a16:creationId xmlns:a16="http://schemas.microsoft.com/office/drawing/2014/main" id="{BEE96AC7-8135-413F-AF91-F3A8E9788C4B}"/>
                  </a:ext>
                </a:extLst>
              </p:cNvPr>
              <p:cNvSpPr/>
              <p:nvPr/>
            </p:nvSpPr>
            <p:spPr>
              <a:xfrm>
                <a:off x="2356624" y="3090126"/>
                <a:ext cx="1409065" cy="1409065"/>
              </a:xfrm>
              <a:custGeom>
                <a:avLst/>
                <a:gdLst/>
                <a:ahLst/>
                <a:cxnLst/>
                <a:rect l="l" t="t" r="r" b="b"/>
                <a:pathLst>
                  <a:path w="1409064" h="1409064">
                    <a:moveTo>
                      <a:pt x="0" y="0"/>
                    </a:moveTo>
                    <a:lnTo>
                      <a:pt x="0" y="0"/>
                    </a:lnTo>
                  </a:path>
                  <a:path w="1409064" h="1409064">
                    <a:moveTo>
                      <a:pt x="1408772" y="1408772"/>
                    </a:moveTo>
                    <a:lnTo>
                      <a:pt x="1408772" y="1408772"/>
                    </a:lnTo>
                  </a:path>
                </a:pathLst>
              </a:custGeom>
              <a:ln w="38100">
                <a:solidFill>
                  <a:srgbClr val="33B34A"/>
                </a:solidFill>
              </a:ln>
            </p:spPr>
            <p:txBody>
              <a:bodyPr wrap="square" lIns="0" tIns="0" rIns="0" bIns="0" rtlCol="0"/>
              <a:lstStyle/>
              <a:p>
                <a:endParaRPr/>
              </a:p>
            </p:txBody>
          </p:sp>
          <p:sp>
            <p:nvSpPr>
              <p:cNvPr id="20" name="object 14">
                <a:extLst>
                  <a:ext uri="{FF2B5EF4-FFF2-40B4-BE49-F238E27FC236}">
                    <a16:creationId xmlns:a16="http://schemas.microsoft.com/office/drawing/2014/main" id="{F0E4DFA7-FF0B-440B-98C3-3DE212F6A59B}"/>
                  </a:ext>
                </a:extLst>
              </p:cNvPr>
              <p:cNvSpPr/>
              <p:nvPr/>
            </p:nvSpPr>
            <p:spPr>
              <a:xfrm>
                <a:off x="359994" y="1439164"/>
                <a:ext cx="2184400" cy="1382395"/>
              </a:xfrm>
              <a:custGeom>
                <a:avLst/>
                <a:gdLst/>
                <a:ahLst/>
                <a:cxnLst/>
                <a:rect l="l" t="t" r="r" b="b"/>
                <a:pathLst>
                  <a:path w="2184400" h="1382395">
                    <a:moveTo>
                      <a:pt x="2184006" y="0"/>
                    </a:moveTo>
                    <a:lnTo>
                      <a:pt x="0" y="0"/>
                    </a:lnTo>
                    <a:lnTo>
                      <a:pt x="0" y="1382293"/>
                    </a:lnTo>
                    <a:lnTo>
                      <a:pt x="2184006" y="1382293"/>
                    </a:lnTo>
                    <a:lnTo>
                      <a:pt x="2184006" y="0"/>
                    </a:lnTo>
                    <a:close/>
                  </a:path>
                </a:pathLst>
              </a:custGeom>
              <a:solidFill>
                <a:srgbClr val="FFFFFF"/>
              </a:solidFill>
            </p:spPr>
            <p:txBody>
              <a:bodyPr wrap="square" lIns="0" tIns="0" rIns="0" bIns="0" rtlCol="0"/>
              <a:lstStyle/>
              <a:p>
                <a:endParaRPr/>
              </a:p>
            </p:txBody>
          </p:sp>
        </p:grpSp>
        <p:grpSp>
          <p:nvGrpSpPr>
            <p:cNvPr id="47" name="object 41">
              <a:extLst>
                <a:ext uri="{FF2B5EF4-FFF2-40B4-BE49-F238E27FC236}">
                  <a16:creationId xmlns:a16="http://schemas.microsoft.com/office/drawing/2014/main" id="{4740DC4B-2FFD-44C4-99A8-1F01C7811ACD}"/>
                </a:ext>
              </a:extLst>
            </p:cNvPr>
            <p:cNvGrpSpPr/>
            <p:nvPr/>
          </p:nvGrpSpPr>
          <p:grpSpPr>
            <a:xfrm>
              <a:off x="5307576" y="2088748"/>
              <a:ext cx="772160" cy="772160"/>
              <a:chOff x="3404234" y="1322578"/>
              <a:chExt cx="772160" cy="772160"/>
            </a:xfrm>
          </p:grpSpPr>
          <p:sp>
            <p:nvSpPr>
              <p:cNvPr id="48" name="object 42">
                <a:extLst>
                  <a:ext uri="{FF2B5EF4-FFF2-40B4-BE49-F238E27FC236}">
                    <a16:creationId xmlns:a16="http://schemas.microsoft.com/office/drawing/2014/main" id="{A2C1662C-21F2-4B9F-904A-E106CDE72FD1}"/>
                  </a:ext>
                </a:extLst>
              </p:cNvPr>
              <p:cNvSpPr/>
              <p:nvPr/>
            </p:nvSpPr>
            <p:spPr>
              <a:xfrm>
                <a:off x="3414725" y="1333081"/>
                <a:ext cx="751205" cy="751205"/>
              </a:xfrm>
              <a:custGeom>
                <a:avLst/>
                <a:gdLst/>
                <a:ahLst/>
                <a:cxnLst/>
                <a:rect l="l" t="t" r="r" b="b"/>
                <a:pathLst>
                  <a:path w="751204" h="751205">
                    <a:moveTo>
                      <a:pt x="375564" y="0"/>
                    </a:moveTo>
                    <a:lnTo>
                      <a:pt x="328454" y="2926"/>
                    </a:lnTo>
                    <a:lnTo>
                      <a:pt x="283091" y="11469"/>
                    </a:lnTo>
                    <a:lnTo>
                      <a:pt x="239825" y="25278"/>
                    </a:lnTo>
                    <a:lnTo>
                      <a:pt x="199010" y="44000"/>
                    </a:lnTo>
                    <a:lnTo>
                      <a:pt x="160997" y="67284"/>
                    </a:lnTo>
                    <a:lnTo>
                      <a:pt x="126137" y="94778"/>
                    </a:lnTo>
                    <a:lnTo>
                      <a:pt x="94784" y="126130"/>
                    </a:lnTo>
                    <a:lnTo>
                      <a:pt x="67289" y="160988"/>
                    </a:lnTo>
                    <a:lnTo>
                      <a:pt x="44003" y="199000"/>
                    </a:lnTo>
                    <a:lnTo>
                      <a:pt x="25280" y="239814"/>
                    </a:lnTo>
                    <a:lnTo>
                      <a:pt x="11470" y="283079"/>
                    </a:lnTo>
                    <a:lnTo>
                      <a:pt x="2926" y="328442"/>
                    </a:lnTo>
                    <a:lnTo>
                      <a:pt x="0" y="375551"/>
                    </a:lnTo>
                    <a:lnTo>
                      <a:pt x="2926" y="422661"/>
                    </a:lnTo>
                    <a:lnTo>
                      <a:pt x="11470" y="468023"/>
                    </a:lnTo>
                    <a:lnTo>
                      <a:pt x="25280" y="511288"/>
                    </a:lnTo>
                    <a:lnTo>
                      <a:pt x="44003" y="552102"/>
                    </a:lnTo>
                    <a:lnTo>
                      <a:pt x="67289" y="590114"/>
                    </a:lnTo>
                    <a:lnTo>
                      <a:pt x="94784" y="624972"/>
                    </a:lnTo>
                    <a:lnTo>
                      <a:pt x="126137" y="656324"/>
                    </a:lnTo>
                    <a:lnTo>
                      <a:pt x="160997" y="683818"/>
                    </a:lnTo>
                    <a:lnTo>
                      <a:pt x="199010" y="707102"/>
                    </a:lnTo>
                    <a:lnTo>
                      <a:pt x="239825" y="725825"/>
                    </a:lnTo>
                    <a:lnTo>
                      <a:pt x="283091" y="739633"/>
                    </a:lnTo>
                    <a:lnTo>
                      <a:pt x="328454" y="748177"/>
                    </a:lnTo>
                    <a:lnTo>
                      <a:pt x="375564" y="751103"/>
                    </a:lnTo>
                    <a:lnTo>
                      <a:pt x="422673" y="748177"/>
                    </a:lnTo>
                    <a:lnTo>
                      <a:pt x="468036" y="739633"/>
                    </a:lnTo>
                    <a:lnTo>
                      <a:pt x="511301" y="725825"/>
                    </a:lnTo>
                    <a:lnTo>
                      <a:pt x="552115" y="707102"/>
                    </a:lnTo>
                    <a:lnTo>
                      <a:pt x="590127" y="683818"/>
                    </a:lnTo>
                    <a:lnTo>
                      <a:pt x="624985" y="656324"/>
                    </a:lnTo>
                    <a:lnTo>
                      <a:pt x="656337" y="624972"/>
                    </a:lnTo>
                    <a:lnTo>
                      <a:pt x="683831" y="590114"/>
                    </a:lnTo>
                    <a:lnTo>
                      <a:pt x="707115" y="552102"/>
                    </a:lnTo>
                    <a:lnTo>
                      <a:pt x="725837" y="511288"/>
                    </a:lnTo>
                    <a:lnTo>
                      <a:pt x="739646" y="468023"/>
                    </a:lnTo>
                    <a:lnTo>
                      <a:pt x="748190" y="422661"/>
                    </a:lnTo>
                    <a:lnTo>
                      <a:pt x="751116" y="375551"/>
                    </a:lnTo>
                    <a:lnTo>
                      <a:pt x="748190" y="328442"/>
                    </a:lnTo>
                    <a:lnTo>
                      <a:pt x="739646" y="283079"/>
                    </a:lnTo>
                    <a:lnTo>
                      <a:pt x="725837" y="239814"/>
                    </a:lnTo>
                    <a:lnTo>
                      <a:pt x="707115" y="199000"/>
                    </a:lnTo>
                    <a:lnTo>
                      <a:pt x="683831" y="160988"/>
                    </a:lnTo>
                    <a:lnTo>
                      <a:pt x="656337" y="126130"/>
                    </a:lnTo>
                    <a:lnTo>
                      <a:pt x="624985" y="94778"/>
                    </a:lnTo>
                    <a:lnTo>
                      <a:pt x="590127" y="67284"/>
                    </a:lnTo>
                    <a:lnTo>
                      <a:pt x="552115" y="44000"/>
                    </a:lnTo>
                    <a:lnTo>
                      <a:pt x="511301" y="25278"/>
                    </a:lnTo>
                    <a:lnTo>
                      <a:pt x="468036" y="11469"/>
                    </a:lnTo>
                    <a:lnTo>
                      <a:pt x="422673" y="2926"/>
                    </a:lnTo>
                    <a:lnTo>
                      <a:pt x="375564" y="0"/>
                    </a:lnTo>
                    <a:close/>
                  </a:path>
                </a:pathLst>
              </a:custGeom>
              <a:solidFill>
                <a:srgbClr val="FFFFFF"/>
              </a:solidFill>
            </p:spPr>
            <p:txBody>
              <a:bodyPr wrap="square" lIns="0" tIns="0" rIns="0" bIns="0" rtlCol="0"/>
              <a:lstStyle/>
              <a:p>
                <a:endParaRPr/>
              </a:p>
            </p:txBody>
          </p:sp>
          <p:sp>
            <p:nvSpPr>
              <p:cNvPr id="49" name="object 43">
                <a:extLst>
                  <a:ext uri="{FF2B5EF4-FFF2-40B4-BE49-F238E27FC236}">
                    <a16:creationId xmlns:a16="http://schemas.microsoft.com/office/drawing/2014/main" id="{74F8FE2E-DB78-4F05-9E50-16AD283D5477}"/>
                  </a:ext>
                </a:extLst>
              </p:cNvPr>
              <p:cNvSpPr/>
              <p:nvPr/>
            </p:nvSpPr>
            <p:spPr>
              <a:xfrm>
                <a:off x="3404235" y="1322577"/>
                <a:ext cx="772160" cy="772160"/>
              </a:xfrm>
              <a:custGeom>
                <a:avLst/>
                <a:gdLst/>
                <a:ahLst/>
                <a:cxnLst/>
                <a:rect l="l" t="t" r="r" b="b"/>
                <a:pathLst>
                  <a:path w="772160" h="772160">
                    <a:moveTo>
                      <a:pt x="603173" y="327698"/>
                    </a:moveTo>
                    <a:lnTo>
                      <a:pt x="595909" y="288683"/>
                    </a:lnTo>
                    <a:lnTo>
                      <a:pt x="574116" y="254406"/>
                    </a:lnTo>
                    <a:lnTo>
                      <a:pt x="525411" y="226504"/>
                    </a:lnTo>
                    <a:lnTo>
                      <a:pt x="506882" y="224282"/>
                    </a:lnTo>
                    <a:lnTo>
                      <a:pt x="487299" y="226047"/>
                    </a:lnTo>
                    <a:lnTo>
                      <a:pt x="468376" y="231800"/>
                    </a:lnTo>
                    <a:lnTo>
                      <a:pt x="450545" y="241376"/>
                    </a:lnTo>
                    <a:lnTo>
                      <a:pt x="434263" y="254596"/>
                    </a:lnTo>
                    <a:lnTo>
                      <a:pt x="390525" y="296354"/>
                    </a:lnTo>
                    <a:lnTo>
                      <a:pt x="387591" y="297561"/>
                    </a:lnTo>
                    <a:lnTo>
                      <a:pt x="384479" y="297548"/>
                    </a:lnTo>
                    <a:lnTo>
                      <a:pt x="381558" y="296354"/>
                    </a:lnTo>
                    <a:lnTo>
                      <a:pt x="380390" y="295440"/>
                    </a:lnTo>
                    <a:lnTo>
                      <a:pt x="337870" y="254647"/>
                    </a:lnTo>
                    <a:lnTo>
                      <a:pt x="321551" y="241401"/>
                    </a:lnTo>
                    <a:lnTo>
                      <a:pt x="303707" y="231800"/>
                    </a:lnTo>
                    <a:lnTo>
                      <a:pt x="284772" y="226034"/>
                    </a:lnTo>
                    <a:lnTo>
                      <a:pt x="265214" y="224282"/>
                    </a:lnTo>
                    <a:lnTo>
                      <a:pt x="246672" y="226504"/>
                    </a:lnTo>
                    <a:lnTo>
                      <a:pt x="197980" y="254406"/>
                    </a:lnTo>
                    <a:lnTo>
                      <a:pt x="176174" y="288683"/>
                    </a:lnTo>
                    <a:lnTo>
                      <a:pt x="168910" y="327698"/>
                    </a:lnTo>
                    <a:lnTo>
                      <a:pt x="176174" y="366712"/>
                    </a:lnTo>
                    <a:lnTo>
                      <a:pt x="197980" y="400977"/>
                    </a:lnTo>
                    <a:lnTo>
                      <a:pt x="386041" y="599376"/>
                    </a:lnTo>
                    <a:lnTo>
                      <a:pt x="574078" y="401002"/>
                    </a:lnTo>
                    <a:lnTo>
                      <a:pt x="595896" y="366725"/>
                    </a:lnTo>
                    <a:lnTo>
                      <a:pt x="603173" y="327698"/>
                    </a:lnTo>
                    <a:close/>
                  </a:path>
                  <a:path w="772160" h="772160">
                    <a:moveTo>
                      <a:pt x="772109" y="386054"/>
                    </a:moveTo>
                    <a:lnTo>
                      <a:pt x="769099" y="337629"/>
                    </a:lnTo>
                    <a:lnTo>
                      <a:pt x="760310" y="291007"/>
                    </a:lnTo>
                    <a:lnTo>
                      <a:pt x="746112" y="246532"/>
                    </a:lnTo>
                    <a:lnTo>
                      <a:pt x="728421" y="207937"/>
                    </a:lnTo>
                    <a:lnTo>
                      <a:pt x="702932" y="165493"/>
                    </a:lnTo>
                    <a:lnTo>
                      <a:pt x="674674" y="129667"/>
                    </a:lnTo>
                    <a:lnTo>
                      <a:pt x="642442" y="97434"/>
                    </a:lnTo>
                    <a:lnTo>
                      <a:pt x="619467" y="79324"/>
                    </a:lnTo>
                    <a:lnTo>
                      <a:pt x="619467" y="327685"/>
                    </a:lnTo>
                    <a:lnTo>
                      <a:pt x="611073" y="372732"/>
                    </a:lnTo>
                    <a:lnTo>
                      <a:pt x="585914" y="412280"/>
                    </a:lnTo>
                    <a:lnTo>
                      <a:pt x="391591" y="617258"/>
                    </a:lnTo>
                    <a:lnTo>
                      <a:pt x="386054" y="619429"/>
                    </a:lnTo>
                    <a:lnTo>
                      <a:pt x="384505" y="619277"/>
                    </a:lnTo>
                    <a:lnTo>
                      <a:pt x="186156" y="412242"/>
                    </a:lnTo>
                    <a:lnTo>
                      <a:pt x="160997" y="372719"/>
                    </a:lnTo>
                    <a:lnTo>
                      <a:pt x="152615" y="327685"/>
                    </a:lnTo>
                    <a:lnTo>
                      <a:pt x="161010" y="282651"/>
                    </a:lnTo>
                    <a:lnTo>
                      <a:pt x="186194" y="243090"/>
                    </a:lnTo>
                    <a:lnTo>
                      <a:pt x="222478" y="217385"/>
                    </a:lnTo>
                    <a:lnTo>
                      <a:pt x="264947" y="207937"/>
                    </a:lnTo>
                    <a:lnTo>
                      <a:pt x="287782" y="209943"/>
                    </a:lnTo>
                    <a:lnTo>
                      <a:pt x="309765" y="216585"/>
                    </a:lnTo>
                    <a:lnTo>
                      <a:pt x="330428" y="227647"/>
                    </a:lnTo>
                    <a:lnTo>
                      <a:pt x="349250" y="242900"/>
                    </a:lnTo>
                    <a:lnTo>
                      <a:pt x="386054" y="278218"/>
                    </a:lnTo>
                    <a:lnTo>
                      <a:pt x="422910" y="242849"/>
                    </a:lnTo>
                    <a:lnTo>
                      <a:pt x="441693" y="227622"/>
                    </a:lnTo>
                    <a:lnTo>
                      <a:pt x="462343" y="216573"/>
                    </a:lnTo>
                    <a:lnTo>
                      <a:pt x="484390" y="209943"/>
                    </a:lnTo>
                    <a:lnTo>
                      <a:pt x="507161" y="207937"/>
                    </a:lnTo>
                    <a:lnTo>
                      <a:pt x="528916" y="210527"/>
                    </a:lnTo>
                    <a:lnTo>
                      <a:pt x="568782" y="228320"/>
                    </a:lnTo>
                    <a:lnTo>
                      <a:pt x="611073" y="282651"/>
                    </a:lnTo>
                    <a:lnTo>
                      <a:pt x="619467" y="327685"/>
                    </a:lnTo>
                    <a:lnTo>
                      <a:pt x="619467" y="79324"/>
                    </a:lnTo>
                    <a:lnTo>
                      <a:pt x="567537" y="45237"/>
                    </a:lnTo>
                    <a:lnTo>
                      <a:pt x="525576" y="25996"/>
                    </a:lnTo>
                    <a:lnTo>
                      <a:pt x="481101" y="11798"/>
                    </a:lnTo>
                    <a:lnTo>
                      <a:pt x="434467" y="3009"/>
                    </a:lnTo>
                    <a:lnTo>
                      <a:pt x="386054" y="0"/>
                    </a:lnTo>
                    <a:lnTo>
                      <a:pt x="337616" y="3009"/>
                    </a:lnTo>
                    <a:lnTo>
                      <a:pt x="290995" y="11798"/>
                    </a:lnTo>
                    <a:lnTo>
                      <a:pt x="246519" y="25996"/>
                    </a:lnTo>
                    <a:lnTo>
                      <a:pt x="204558" y="45237"/>
                    </a:lnTo>
                    <a:lnTo>
                      <a:pt x="165481" y="69176"/>
                    </a:lnTo>
                    <a:lnTo>
                      <a:pt x="129654" y="97434"/>
                    </a:lnTo>
                    <a:lnTo>
                      <a:pt x="97421" y="129667"/>
                    </a:lnTo>
                    <a:lnTo>
                      <a:pt x="69164" y="165493"/>
                    </a:lnTo>
                    <a:lnTo>
                      <a:pt x="45224" y="204571"/>
                    </a:lnTo>
                    <a:lnTo>
                      <a:pt x="25984" y="246532"/>
                    </a:lnTo>
                    <a:lnTo>
                      <a:pt x="11785" y="291007"/>
                    </a:lnTo>
                    <a:lnTo>
                      <a:pt x="2997" y="337629"/>
                    </a:lnTo>
                    <a:lnTo>
                      <a:pt x="0" y="386054"/>
                    </a:lnTo>
                    <a:lnTo>
                      <a:pt x="2997" y="434492"/>
                    </a:lnTo>
                    <a:lnTo>
                      <a:pt x="11785" y="481114"/>
                    </a:lnTo>
                    <a:lnTo>
                      <a:pt x="25984" y="525589"/>
                    </a:lnTo>
                    <a:lnTo>
                      <a:pt x="45224" y="567550"/>
                    </a:lnTo>
                    <a:lnTo>
                      <a:pt x="69164" y="606628"/>
                    </a:lnTo>
                    <a:lnTo>
                      <a:pt x="97421" y="642454"/>
                    </a:lnTo>
                    <a:lnTo>
                      <a:pt x="129654" y="674687"/>
                    </a:lnTo>
                    <a:lnTo>
                      <a:pt x="165481" y="702945"/>
                    </a:lnTo>
                    <a:lnTo>
                      <a:pt x="204558" y="726884"/>
                    </a:lnTo>
                    <a:lnTo>
                      <a:pt x="246519" y="746125"/>
                    </a:lnTo>
                    <a:lnTo>
                      <a:pt x="290995" y="760323"/>
                    </a:lnTo>
                    <a:lnTo>
                      <a:pt x="337616" y="769112"/>
                    </a:lnTo>
                    <a:lnTo>
                      <a:pt x="386054" y="772109"/>
                    </a:lnTo>
                    <a:lnTo>
                      <a:pt x="434467" y="769112"/>
                    </a:lnTo>
                    <a:lnTo>
                      <a:pt x="481101" y="760323"/>
                    </a:lnTo>
                    <a:lnTo>
                      <a:pt x="525576" y="746125"/>
                    </a:lnTo>
                    <a:lnTo>
                      <a:pt x="567537" y="726884"/>
                    </a:lnTo>
                    <a:lnTo>
                      <a:pt x="606602" y="702945"/>
                    </a:lnTo>
                    <a:lnTo>
                      <a:pt x="642442" y="674687"/>
                    </a:lnTo>
                    <a:lnTo>
                      <a:pt x="674674" y="642454"/>
                    </a:lnTo>
                    <a:lnTo>
                      <a:pt x="692823" y="619429"/>
                    </a:lnTo>
                    <a:lnTo>
                      <a:pt x="702932" y="606628"/>
                    </a:lnTo>
                    <a:lnTo>
                      <a:pt x="726871" y="567550"/>
                    </a:lnTo>
                    <a:lnTo>
                      <a:pt x="746112" y="525589"/>
                    </a:lnTo>
                    <a:lnTo>
                      <a:pt x="760310" y="481114"/>
                    </a:lnTo>
                    <a:lnTo>
                      <a:pt x="769099" y="434492"/>
                    </a:lnTo>
                    <a:lnTo>
                      <a:pt x="772109" y="386054"/>
                    </a:lnTo>
                    <a:close/>
                  </a:path>
                </a:pathLst>
              </a:custGeom>
              <a:solidFill>
                <a:srgbClr val="43AF49"/>
              </a:solidFill>
            </p:spPr>
            <p:txBody>
              <a:bodyPr wrap="square" lIns="0" tIns="0" rIns="0" bIns="0" rtlCol="0"/>
              <a:lstStyle/>
              <a:p>
                <a:endParaRPr/>
              </a:p>
            </p:txBody>
          </p:sp>
        </p:grpSp>
        <p:sp>
          <p:nvSpPr>
            <p:cNvPr id="50" name="Rectangle 49">
              <a:extLst>
                <a:ext uri="{FF2B5EF4-FFF2-40B4-BE49-F238E27FC236}">
                  <a16:creationId xmlns:a16="http://schemas.microsoft.com/office/drawing/2014/main" id="{98C0DB4B-4E50-4304-A8BA-E938A326E268}"/>
                </a:ext>
              </a:extLst>
            </p:cNvPr>
            <p:cNvSpPr/>
            <p:nvPr/>
          </p:nvSpPr>
          <p:spPr>
            <a:xfrm>
              <a:off x="4405724" y="3150665"/>
              <a:ext cx="2640585" cy="2092881"/>
            </a:xfrm>
            <a:prstGeom prst="rect">
              <a:avLst/>
            </a:prstGeom>
          </p:spPr>
          <p:txBody>
            <a:bodyPr wrap="square">
              <a:spAutoFit/>
            </a:bodyPr>
            <a:lstStyle/>
            <a:p>
              <a:pPr lvl="0">
                <a:defRPr/>
              </a:pPr>
              <a:r>
                <a:rPr lang="vi-VN" sz="1400" b="1">
                  <a:solidFill>
                    <a:schemeClr val="accent1"/>
                  </a:solidFill>
                  <a:cs typeface="Arial" panose="020B0604020202020204" pitchFamily="34" charset="0"/>
                </a:rPr>
                <a:t>LÃNH ĐẠO BẰNG TRÁI TIM</a:t>
              </a:r>
            </a:p>
            <a:p>
              <a:pPr lvl="0">
                <a:defRPr/>
              </a:pPr>
              <a:r>
                <a:rPr lang="vi-VN" sz="1400">
                  <a:cs typeface="Arial" panose="020B0604020202020204" pitchFamily="34" charset="0"/>
                </a:rPr>
                <a:t>Tìm kiếm và củng cố các giải pháp phù hợp với mục đích, nghĩa vụ xã hội và phục vụ giá trị tâm đức của doanh nghiệp</a:t>
              </a:r>
            </a:p>
            <a:p>
              <a:pPr marL="171450" lvl="0" indent="-171450">
                <a:buFont typeface="Arial" panose="020B0604020202020204" pitchFamily="34" charset="0"/>
                <a:buChar char="•"/>
                <a:defRPr/>
              </a:pPr>
              <a:r>
                <a:rPr lang="vi-VN" sz="1200">
                  <a:cs typeface="Arial" panose="020B0604020202020204" pitchFamily="34" charset="0"/>
                </a:rPr>
                <a:t>Chúng ta định thể hiện với nhân viên, khách  hàng, cộng đồng và hệ sinh thái của chúng ta rằng chúng ta hết lòng vì lợi ích của các bên như thế nào?</a:t>
              </a:r>
              <a:endParaRPr lang="en-US" sz="1200" b="1" dirty="0">
                <a:cs typeface="Arial" panose="020B0604020202020204" pitchFamily="34" charset="0"/>
              </a:endParaRPr>
            </a:p>
          </p:txBody>
        </p:sp>
        <p:sp>
          <p:nvSpPr>
            <p:cNvPr id="2" name="Rectangle 1">
              <a:extLst>
                <a:ext uri="{FF2B5EF4-FFF2-40B4-BE49-F238E27FC236}">
                  <a16:creationId xmlns:a16="http://schemas.microsoft.com/office/drawing/2014/main" id="{C74F607F-64A7-428F-A736-2DC4936B3387}"/>
                </a:ext>
              </a:extLst>
            </p:cNvPr>
            <p:cNvSpPr/>
            <p:nvPr/>
          </p:nvSpPr>
          <p:spPr bwMode="gray">
            <a:xfrm>
              <a:off x="1507892" y="1977704"/>
              <a:ext cx="2723867" cy="1924580"/>
            </a:xfrm>
            <a:prstGeom prst="rect">
              <a:avLst/>
            </a:prstGeom>
            <a:solidFill>
              <a:schemeClr val="bg1"/>
            </a:solid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1" name="Rectangle 50">
              <a:extLst>
                <a:ext uri="{FF2B5EF4-FFF2-40B4-BE49-F238E27FC236}">
                  <a16:creationId xmlns:a16="http://schemas.microsoft.com/office/drawing/2014/main" id="{9E9B3D29-F4EC-4949-B4C4-56D240F1D610}"/>
                </a:ext>
              </a:extLst>
            </p:cNvPr>
            <p:cNvSpPr/>
            <p:nvPr/>
          </p:nvSpPr>
          <p:spPr>
            <a:xfrm>
              <a:off x="1534043" y="1994069"/>
              <a:ext cx="2640585" cy="1908215"/>
            </a:xfrm>
            <a:prstGeom prst="rect">
              <a:avLst/>
            </a:prstGeom>
          </p:spPr>
          <p:txBody>
            <a:bodyPr wrap="square">
              <a:spAutoFit/>
            </a:bodyPr>
            <a:lstStyle/>
            <a:p>
              <a:pPr lvl="0">
                <a:defRPr/>
              </a:pPr>
              <a:r>
                <a:rPr lang="vi-VN" sz="1400" b="1">
                  <a:solidFill>
                    <a:schemeClr val="accent1"/>
                  </a:solidFill>
                  <a:cs typeface="Arial" panose="020B0604020202020204" pitchFamily="34" charset="0"/>
                </a:rPr>
                <a:t>ĐẶT NHIỆM VỤ LÊN HÀNG ĐẦU</a:t>
              </a:r>
            </a:p>
            <a:p>
              <a:pPr lvl="0">
                <a:defRPr/>
              </a:pPr>
              <a:r>
                <a:rPr lang="vi-VN" sz="1400">
                  <a:cs typeface="Arial" panose="020B0604020202020204" pitchFamily="34" charset="0"/>
                </a:rPr>
                <a:t>Ổn định hôm nay, khai thác cả năng  lượng tích cực và tiêu cực của những  biến động để khơi nguồn sáng tạo cho ngày mai</a:t>
              </a:r>
            </a:p>
            <a:p>
              <a:pPr marL="171450" lvl="0" indent="-171450">
                <a:buFont typeface="Arial" panose="020B0604020202020204" pitchFamily="34" charset="0"/>
                <a:buChar char="•"/>
                <a:defRPr/>
              </a:pPr>
              <a:r>
                <a:rPr lang="vi-VN" sz="1200">
                  <a:cs typeface="Arial" panose="020B0604020202020204" pitchFamily="34" charset="0"/>
                </a:rPr>
                <a:t>Chúng ta dự định biến một cuộc khủng  hoảng thành cơ hội như thế nào để</a:t>
              </a:r>
              <a:r>
                <a:rPr lang="en-US" sz="1200">
                  <a:cs typeface="Arial" panose="020B0604020202020204" pitchFamily="34" charset="0"/>
                </a:rPr>
                <a:t> </a:t>
              </a:r>
              <a:r>
                <a:rPr lang="vi-VN" sz="1200">
                  <a:cs typeface="Arial" panose="020B0604020202020204" pitchFamily="34" charset="0"/>
                </a:rPr>
                <a:t>có thể tái xuất mạnh mẽ hơn?</a:t>
              </a:r>
              <a:endParaRPr lang="en-US" sz="1200" dirty="0">
                <a:cs typeface="Arial" panose="020B0604020202020204" pitchFamily="34" charset="0"/>
              </a:endParaRPr>
            </a:p>
          </p:txBody>
        </p:sp>
        <p:sp>
          <p:nvSpPr>
            <p:cNvPr id="52" name="Rectangle 51">
              <a:extLst>
                <a:ext uri="{FF2B5EF4-FFF2-40B4-BE49-F238E27FC236}">
                  <a16:creationId xmlns:a16="http://schemas.microsoft.com/office/drawing/2014/main" id="{11AEAE0E-F096-41E1-855A-BC688CCDB32E}"/>
                </a:ext>
              </a:extLst>
            </p:cNvPr>
            <p:cNvSpPr/>
            <p:nvPr/>
          </p:nvSpPr>
          <p:spPr bwMode="gray">
            <a:xfrm>
              <a:off x="1507892" y="4487617"/>
              <a:ext cx="2723867" cy="1924580"/>
            </a:xfrm>
            <a:prstGeom prst="rect">
              <a:avLst/>
            </a:prstGeom>
            <a:solidFill>
              <a:schemeClr val="bg1"/>
            </a:solid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3" name="Rectangle 52">
              <a:extLst>
                <a:ext uri="{FF2B5EF4-FFF2-40B4-BE49-F238E27FC236}">
                  <a16:creationId xmlns:a16="http://schemas.microsoft.com/office/drawing/2014/main" id="{0BDE9142-3012-460D-B61A-BB2F7BE242CA}"/>
                </a:ext>
              </a:extLst>
            </p:cNvPr>
            <p:cNvSpPr/>
            <p:nvPr/>
          </p:nvSpPr>
          <p:spPr>
            <a:xfrm>
              <a:off x="1507892" y="4576979"/>
              <a:ext cx="2640585" cy="1692771"/>
            </a:xfrm>
            <a:prstGeom prst="rect">
              <a:avLst/>
            </a:prstGeom>
          </p:spPr>
          <p:txBody>
            <a:bodyPr wrap="square">
              <a:spAutoFit/>
            </a:bodyPr>
            <a:lstStyle/>
            <a:p>
              <a:pPr lvl="0">
                <a:defRPr/>
              </a:pPr>
              <a:r>
                <a:rPr lang="vi-VN" sz="1400" b="1">
                  <a:solidFill>
                    <a:schemeClr val="accent1"/>
                  </a:solidFill>
                  <a:cs typeface="Arial" panose="020B0604020202020204" pitchFamily="34" charset="0"/>
                </a:rPr>
                <a:t>ƯU TIÊN TỐC ĐỘ</a:t>
              </a:r>
              <a:endParaRPr lang="en-US" sz="1400" b="1">
                <a:solidFill>
                  <a:schemeClr val="accent1"/>
                </a:solidFill>
                <a:cs typeface="Arial" panose="020B0604020202020204" pitchFamily="34" charset="0"/>
              </a:endParaRPr>
            </a:p>
            <a:p>
              <a:pPr lvl="0">
                <a:defRPr/>
              </a:pPr>
              <a:r>
                <a:rPr lang="vi-VN" sz="1400">
                  <a:cs typeface="Arial" panose="020B0604020202020204" pitchFamily="34" charset="0"/>
                </a:rPr>
                <a:t>Hành động quyết đoán với lòng quả  cảm quan trọng hơn là nhắm tới sự  hoàn hảo</a:t>
              </a:r>
              <a:endParaRPr lang="en-US" sz="1400">
                <a:cs typeface="Arial" panose="020B0604020202020204" pitchFamily="34" charset="0"/>
              </a:endParaRPr>
            </a:p>
            <a:p>
              <a:pPr marL="171450" lvl="0" indent="-171450">
                <a:buFont typeface="Arial" panose="020B0604020202020204" pitchFamily="34" charset="0"/>
                <a:buChar char="•"/>
                <a:defRPr/>
              </a:pPr>
              <a:r>
                <a:rPr lang="vi-VN" sz="1200">
                  <a:cs typeface="Arial" panose="020B0604020202020204" pitchFamily="34" charset="0"/>
                </a:rPr>
                <a:t>Chúng ta dự kiến trao quyền cho đội ngũ  của chúng ta như thế nào để họ có thể hành động quả cảm trong môi trường đầy biến động?</a:t>
              </a:r>
              <a:endParaRPr lang="en-US" sz="1200" dirty="0">
                <a:cs typeface="Arial" panose="020B0604020202020204" pitchFamily="34" charset="0"/>
              </a:endParaRPr>
            </a:p>
          </p:txBody>
        </p:sp>
        <p:sp>
          <p:nvSpPr>
            <p:cNvPr id="56" name="Rectangle 55">
              <a:extLst>
                <a:ext uri="{FF2B5EF4-FFF2-40B4-BE49-F238E27FC236}">
                  <a16:creationId xmlns:a16="http://schemas.microsoft.com/office/drawing/2014/main" id="{F3B98769-D790-40D4-8D2A-AB8B4A777DFB}"/>
                </a:ext>
              </a:extLst>
            </p:cNvPr>
            <p:cNvSpPr/>
            <p:nvPr/>
          </p:nvSpPr>
          <p:spPr bwMode="gray">
            <a:xfrm>
              <a:off x="7156407" y="1994411"/>
              <a:ext cx="2723867" cy="1924580"/>
            </a:xfrm>
            <a:prstGeom prst="rect">
              <a:avLst/>
            </a:prstGeom>
            <a:solidFill>
              <a:schemeClr val="bg1"/>
            </a:solid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7" name="Rectangle 56">
              <a:extLst>
                <a:ext uri="{FF2B5EF4-FFF2-40B4-BE49-F238E27FC236}">
                  <a16:creationId xmlns:a16="http://schemas.microsoft.com/office/drawing/2014/main" id="{E44FC088-44DC-4A19-A0C6-23E59A7C64C0}"/>
                </a:ext>
              </a:extLst>
            </p:cNvPr>
            <p:cNvSpPr/>
            <p:nvPr/>
          </p:nvSpPr>
          <p:spPr>
            <a:xfrm>
              <a:off x="7182558" y="2010776"/>
              <a:ext cx="2640585" cy="1908215"/>
            </a:xfrm>
            <a:prstGeom prst="rect">
              <a:avLst/>
            </a:prstGeom>
          </p:spPr>
          <p:txBody>
            <a:bodyPr wrap="square">
              <a:spAutoFit/>
            </a:bodyPr>
            <a:lstStyle/>
            <a:p>
              <a:pPr lvl="0">
                <a:defRPr/>
              </a:pPr>
              <a:r>
                <a:rPr lang="vi-VN" sz="1400" b="1">
                  <a:solidFill>
                    <a:schemeClr val="accent1"/>
                  </a:solidFill>
                  <a:cs typeface="Arial" panose="020B0604020202020204" pitchFamily="34" charset="0"/>
                </a:rPr>
                <a:t>LÀM CHỦ THÔNG ĐIỆP</a:t>
              </a:r>
              <a:endParaRPr lang="en-US" sz="1400" b="1">
                <a:solidFill>
                  <a:schemeClr val="accent1"/>
                </a:solidFill>
                <a:cs typeface="Arial" panose="020B0604020202020204" pitchFamily="34" charset="0"/>
              </a:endParaRPr>
            </a:p>
            <a:p>
              <a:pPr lvl="0">
                <a:defRPr/>
              </a:pPr>
              <a:r>
                <a:rPr lang="vi-VN" sz="1400">
                  <a:cs typeface="Arial" panose="020B0604020202020204" pitchFamily="34" charset="0"/>
                </a:rPr>
                <a:t>Vẽ lên một bức tranh về một tương  lai và con đường phía trước đầy thuyết phục để các bên liên quan cùng kề vai sát cánh</a:t>
              </a:r>
              <a:endParaRPr lang="en-US" sz="1400">
                <a:cs typeface="Arial" panose="020B0604020202020204" pitchFamily="34" charset="0"/>
              </a:endParaRPr>
            </a:p>
            <a:p>
              <a:pPr marL="171450" lvl="0" indent="-171450">
                <a:buFont typeface="Arial" panose="020B0604020202020204" pitchFamily="34" charset="0"/>
                <a:buChar char="•"/>
                <a:defRPr/>
              </a:pPr>
              <a:r>
                <a:rPr lang="vi-VN" sz="1200">
                  <a:cs typeface="Arial" panose="020B0604020202020204" pitchFamily="34" charset="0"/>
                </a:rPr>
                <a:t>Chúng ta dự định chủ động lấp đầy  khoảng trống thông tin như thế nào  để chống lại sự lan truyền của thông  tin sai lệch và tin đồn thất thiệt?</a:t>
              </a:r>
              <a:endParaRPr lang="en-US" sz="1200" dirty="0">
                <a:cs typeface="Arial" panose="020B0604020202020204" pitchFamily="34" charset="0"/>
              </a:endParaRPr>
            </a:p>
          </p:txBody>
        </p:sp>
        <p:sp>
          <p:nvSpPr>
            <p:cNvPr id="58" name="Rectangle 57">
              <a:extLst>
                <a:ext uri="{FF2B5EF4-FFF2-40B4-BE49-F238E27FC236}">
                  <a16:creationId xmlns:a16="http://schemas.microsoft.com/office/drawing/2014/main" id="{944F2D6B-9066-4C3E-911D-BCAD92DECDC6}"/>
                </a:ext>
              </a:extLst>
            </p:cNvPr>
            <p:cNvSpPr/>
            <p:nvPr/>
          </p:nvSpPr>
          <p:spPr bwMode="gray">
            <a:xfrm>
              <a:off x="7156407" y="4492538"/>
              <a:ext cx="2723867" cy="1924580"/>
            </a:xfrm>
            <a:prstGeom prst="rect">
              <a:avLst/>
            </a:prstGeom>
            <a:solidFill>
              <a:schemeClr val="bg1"/>
            </a:solidFill>
            <a:ln w="19050" algn="ctr">
              <a:solidFill>
                <a:schemeClr val="accent2"/>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9" name="Rectangle 58">
              <a:extLst>
                <a:ext uri="{FF2B5EF4-FFF2-40B4-BE49-F238E27FC236}">
                  <a16:creationId xmlns:a16="http://schemas.microsoft.com/office/drawing/2014/main" id="{E60B4D95-BDE4-429D-A87E-0750F65842E3}"/>
                </a:ext>
              </a:extLst>
            </p:cNvPr>
            <p:cNvSpPr/>
            <p:nvPr/>
          </p:nvSpPr>
          <p:spPr>
            <a:xfrm>
              <a:off x="7182558" y="4508903"/>
              <a:ext cx="2640585" cy="1908215"/>
            </a:xfrm>
            <a:prstGeom prst="rect">
              <a:avLst/>
            </a:prstGeom>
          </p:spPr>
          <p:txBody>
            <a:bodyPr wrap="square">
              <a:spAutoFit/>
            </a:bodyPr>
            <a:lstStyle/>
            <a:p>
              <a:pPr lvl="0">
                <a:defRPr/>
              </a:pPr>
              <a:r>
                <a:rPr lang="vi-VN" sz="1400" b="1">
                  <a:solidFill>
                    <a:schemeClr val="accent1"/>
                  </a:solidFill>
                  <a:cs typeface="Arial" panose="020B0604020202020204" pitchFamily="34" charset="0"/>
                </a:rPr>
                <a:t> GIỮ TẦM NHÌN DÀI HẠN</a:t>
              </a:r>
              <a:endParaRPr lang="en-US" sz="1400" b="1">
                <a:solidFill>
                  <a:schemeClr val="accent1"/>
                </a:solidFill>
                <a:cs typeface="Arial" panose="020B0604020202020204" pitchFamily="34" charset="0"/>
              </a:endParaRPr>
            </a:p>
            <a:p>
              <a:pPr lvl="0">
                <a:defRPr/>
              </a:pPr>
              <a:r>
                <a:rPr lang="vi-VN" sz="1400">
                  <a:cs typeface="Arial" panose="020B0604020202020204" pitchFamily="34" charset="0"/>
                </a:rPr>
                <a:t>Hãy tập trung vào tầm nhìn dài hạn  để lan tỏa niềm tin và lòng kiên định trong hệ sinh thái của chúng ta</a:t>
              </a:r>
              <a:endParaRPr lang="en-US" sz="1400">
                <a:cs typeface="Arial" panose="020B0604020202020204" pitchFamily="34" charset="0"/>
              </a:endParaRPr>
            </a:p>
            <a:p>
              <a:pPr marL="171450" lvl="0" indent="-171450">
                <a:buFont typeface="Arial" panose="020B0604020202020204" pitchFamily="34" charset="0"/>
                <a:buChar char="•"/>
                <a:defRPr/>
              </a:pPr>
              <a:r>
                <a:rPr lang="vi-VN" sz="1200">
                  <a:cs typeface="Arial" panose="020B0604020202020204" pitchFamily="34" charset="0"/>
                </a:rPr>
                <a:t>Chúng ta sẽ dự đoán và phản ứng với  các mô hình kinh doanh mới có khả năng  xuất hiện sau khủng hoảng như thế nào?</a:t>
              </a:r>
            </a:p>
          </p:txBody>
        </p:sp>
      </p:grpSp>
      <p:sp>
        <p:nvSpPr>
          <p:cNvPr id="60" name="Rectangle 59">
            <a:extLst>
              <a:ext uri="{FF2B5EF4-FFF2-40B4-BE49-F238E27FC236}">
                <a16:creationId xmlns:a16="http://schemas.microsoft.com/office/drawing/2014/main" id="{B5138685-7256-49CE-BF01-92A2E0471E4B}"/>
              </a:ext>
            </a:extLst>
          </p:cNvPr>
          <p:cNvSpPr/>
          <p:nvPr/>
        </p:nvSpPr>
        <p:spPr>
          <a:xfrm>
            <a:off x="1371730" y="6602123"/>
            <a:ext cx="8730344" cy="276999"/>
          </a:xfrm>
          <a:prstGeom prst="rect">
            <a:avLst/>
          </a:prstGeom>
        </p:spPr>
        <p:txBody>
          <a:bodyPr wrap="square">
            <a:spAutoFit/>
          </a:bodyPr>
          <a:lstStyle/>
          <a:p>
            <a:pPr lvl="0" algn="r">
              <a:spcBef>
                <a:spcPct val="0"/>
              </a:spcBef>
              <a:spcAft>
                <a:spcPct val="0"/>
              </a:spcAft>
              <a:defRPr/>
            </a:pPr>
            <a:r>
              <a:rPr lang="en-US" sz="1200" i="1" spc="100">
                <a:latin typeface="Calibri Light" panose="020F0302020204030204" pitchFamily="34" charset="0"/>
                <a:ea typeface="Open Sans" panose="020B0606030504020204" pitchFamily="34" charset="0"/>
                <a:cs typeface="Calibri Light" panose="020F0302020204030204" pitchFamily="34" charset="0"/>
              </a:rPr>
              <a:t>Nguồn: Nhà lãnh đạo kiên tâm – Chiến đấu và chiến thắng COVID-19, Deloitte Việt Nam, tái bản T8/2021</a:t>
            </a:r>
            <a:endParaRPr lang="en-US" sz="1200" i="1" dirty="0">
              <a:latin typeface="Calibri Light" panose="020F0302020204030204" pitchFamily="34" charset="0"/>
              <a:ea typeface="Open Sans" panose="020B0606030504020204" pitchFamily="34" charset="0"/>
              <a:cs typeface="Calibri Light" panose="020F0302020204030204" pitchFamily="34" charset="0"/>
            </a:endParaRPr>
          </a:p>
        </p:txBody>
      </p:sp>
    </p:spTree>
    <p:extLst>
      <p:ext uri="{BB962C8B-B14F-4D97-AF65-F5344CB8AC3E}">
        <p14:creationId xmlns:p14="http://schemas.microsoft.com/office/powerpoint/2010/main" val="7194247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230210"/>
            <a:ext cx="1547608" cy="895983"/>
          </a:xfrm>
          <a:prstGeom prst="rect">
            <a:avLst/>
          </a:prstGeom>
        </p:spPr>
      </p:pic>
      <p:sp>
        <p:nvSpPr>
          <p:cNvPr id="13" name="Rectangle 12">
            <a:extLst>
              <a:ext uri="{FF2B5EF4-FFF2-40B4-BE49-F238E27FC236}">
                <a16:creationId xmlns:a16="http://schemas.microsoft.com/office/drawing/2014/main" id="{DDA49807-B2ED-4F6E-9F27-A0311D8217CF}"/>
              </a:ext>
            </a:extLst>
          </p:cNvPr>
          <p:cNvSpPr/>
          <p:nvPr/>
        </p:nvSpPr>
        <p:spPr>
          <a:xfrm>
            <a:off x="368936" y="6456323"/>
            <a:ext cx="1791196" cy="276999"/>
          </a:xfrm>
          <a:prstGeom prst="rect">
            <a:avLst/>
          </a:prstGeom>
        </p:spPr>
        <p:txBody>
          <a:bodyPr wrap="non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grpSp>
        <p:nvGrpSpPr>
          <p:cNvPr id="4" name="Group 3">
            <a:extLst>
              <a:ext uri="{FF2B5EF4-FFF2-40B4-BE49-F238E27FC236}">
                <a16:creationId xmlns:a16="http://schemas.microsoft.com/office/drawing/2014/main" id="{FB0E4A3D-39DE-4E7F-80BF-ED4410F23EF2}"/>
              </a:ext>
            </a:extLst>
          </p:cNvPr>
          <p:cNvGrpSpPr/>
          <p:nvPr/>
        </p:nvGrpSpPr>
        <p:grpSpPr>
          <a:xfrm>
            <a:off x="1781175" y="1752600"/>
            <a:ext cx="8248650" cy="4196945"/>
            <a:chOff x="1648523" y="2454794"/>
            <a:chExt cx="7816591" cy="3855564"/>
          </a:xfrm>
        </p:grpSpPr>
        <p:sp>
          <p:nvSpPr>
            <p:cNvPr id="5" name="Freeform 5">
              <a:extLst>
                <a:ext uri="{FF2B5EF4-FFF2-40B4-BE49-F238E27FC236}">
                  <a16:creationId xmlns:a16="http://schemas.microsoft.com/office/drawing/2014/main" id="{FEF48981-D964-456B-A620-6FFFAF439AA2}"/>
                </a:ext>
              </a:extLst>
            </p:cNvPr>
            <p:cNvSpPr>
              <a:spLocks/>
            </p:cNvSpPr>
            <p:nvPr/>
          </p:nvSpPr>
          <p:spPr bwMode="auto">
            <a:xfrm>
              <a:off x="1874996" y="2455352"/>
              <a:ext cx="2806700" cy="2465388"/>
            </a:xfrm>
            <a:custGeom>
              <a:avLst/>
              <a:gdLst>
                <a:gd name="T0" fmla="*/ 1643 w 1768"/>
                <a:gd name="T1" fmla="*/ 1032 h 1553"/>
                <a:gd name="T2" fmla="*/ 1342 w 1768"/>
                <a:gd name="T3" fmla="*/ 1553 h 1553"/>
                <a:gd name="T4" fmla="*/ 447 w 1768"/>
                <a:gd name="T5" fmla="*/ 1553 h 1553"/>
                <a:gd name="T6" fmla="*/ 0 w 1768"/>
                <a:gd name="T7" fmla="*/ 771 h 1553"/>
                <a:gd name="T8" fmla="*/ 458 w 1768"/>
                <a:gd name="T9" fmla="*/ 0 h 1553"/>
                <a:gd name="T10" fmla="*/ 1331 w 1768"/>
                <a:gd name="T11" fmla="*/ 0 h 1553"/>
                <a:gd name="T12" fmla="*/ 1768 w 1768"/>
                <a:gd name="T13" fmla="*/ 761 h 1553"/>
              </a:gdLst>
              <a:ahLst/>
              <a:cxnLst>
                <a:cxn ang="0">
                  <a:pos x="T0" y="T1"/>
                </a:cxn>
                <a:cxn ang="0">
                  <a:pos x="T2" y="T3"/>
                </a:cxn>
                <a:cxn ang="0">
                  <a:pos x="T4" y="T5"/>
                </a:cxn>
                <a:cxn ang="0">
                  <a:pos x="T6" y="T7"/>
                </a:cxn>
                <a:cxn ang="0">
                  <a:pos x="T8" y="T9"/>
                </a:cxn>
                <a:cxn ang="0">
                  <a:pos x="T10" y="T11"/>
                </a:cxn>
                <a:cxn ang="0">
                  <a:pos x="T12" y="T13"/>
                </a:cxn>
              </a:cxnLst>
              <a:rect l="0" t="0" r="r" b="b"/>
              <a:pathLst>
                <a:path w="1768" h="1553">
                  <a:moveTo>
                    <a:pt x="1643" y="1032"/>
                  </a:moveTo>
                  <a:lnTo>
                    <a:pt x="1342" y="1553"/>
                  </a:lnTo>
                  <a:lnTo>
                    <a:pt x="447" y="1553"/>
                  </a:lnTo>
                  <a:lnTo>
                    <a:pt x="0" y="771"/>
                  </a:lnTo>
                  <a:lnTo>
                    <a:pt x="458" y="0"/>
                  </a:lnTo>
                  <a:lnTo>
                    <a:pt x="1331" y="0"/>
                  </a:lnTo>
                  <a:lnTo>
                    <a:pt x="1768" y="761"/>
                  </a:lnTo>
                </a:path>
              </a:pathLst>
            </a:custGeom>
            <a:noFill/>
            <a:ln w="15875" cap="flat">
              <a:solidFill>
                <a:srgbClr val="86BC2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6">
              <a:extLst>
                <a:ext uri="{FF2B5EF4-FFF2-40B4-BE49-F238E27FC236}">
                  <a16:creationId xmlns:a16="http://schemas.microsoft.com/office/drawing/2014/main" id="{75A60BFA-3B99-4B28-9956-BBC2C4FC05F4}"/>
                </a:ext>
              </a:extLst>
            </p:cNvPr>
            <p:cNvSpPr>
              <a:spLocks/>
            </p:cNvSpPr>
            <p:nvPr/>
          </p:nvSpPr>
          <p:spPr bwMode="auto">
            <a:xfrm>
              <a:off x="4268946" y="3349115"/>
              <a:ext cx="1316011" cy="725464"/>
            </a:xfrm>
            <a:custGeom>
              <a:avLst/>
              <a:gdLst>
                <a:gd name="T0" fmla="*/ 0 w 832"/>
                <a:gd name="T1" fmla="*/ 0 h 469"/>
                <a:gd name="T2" fmla="*/ 270 w 832"/>
                <a:gd name="T3" fmla="*/ 448 h 469"/>
                <a:gd name="T4" fmla="*/ 832 w 832"/>
                <a:gd name="T5" fmla="*/ 469 h 469"/>
                <a:gd name="connsiteX0" fmla="*/ 0 w 9928"/>
                <a:gd name="connsiteY0" fmla="*/ 0 h 9580"/>
                <a:gd name="connsiteX1" fmla="*/ 3245 w 9928"/>
                <a:gd name="connsiteY1" fmla="*/ 9552 h 9580"/>
                <a:gd name="connsiteX2" fmla="*/ 9928 w 9928"/>
                <a:gd name="connsiteY2" fmla="*/ 9360 h 9580"/>
                <a:gd name="connsiteX0" fmla="*/ 0 w 10036"/>
                <a:gd name="connsiteY0" fmla="*/ 0 h 10171"/>
                <a:gd name="connsiteX1" fmla="*/ 3269 w 10036"/>
                <a:gd name="connsiteY1" fmla="*/ 9971 h 10171"/>
                <a:gd name="connsiteX2" fmla="*/ 10036 w 10036"/>
                <a:gd name="connsiteY2" fmla="*/ 10171 h 10171"/>
              </a:gdLst>
              <a:ahLst/>
              <a:cxnLst>
                <a:cxn ang="0">
                  <a:pos x="connsiteX0" y="connsiteY0"/>
                </a:cxn>
                <a:cxn ang="0">
                  <a:pos x="connsiteX1" y="connsiteY1"/>
                </a:cxn>
                <a:cxn ang="0">
                  <a:pos x="connsiteX2" y="connsiteY2"/>
                </a:cxn>
              </a:cxnLst>
              <a:rect l="l" t="t" r="r" b="b"/>
              <a:pathLst>
                <a:path w="10036" h="10171">
                  <a:moveTo>
                    <a:pt x="0" y="0"/>
                  </a:moveTo>
                  <a:lnTo>
                    <a:pt x="3269" y="9971"/>
                  </a:lnTo>
                  <a:cubicBezTo>
                    <a:pt x="5537" y="10126"/>
                    <a:pt x="7768" y="10016"/>
                    <a:pt x="10036" y="10171"/>
                  </a:cubicBezTo>
                </a:path>
              </a:pathLst>
            </a:custGeom>
            <a:noFill/>
            <a:ln w="15875" cap="flat">
              <a:solidFill>
                <a:srgbClr val="86BC25"/>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7">
              <a:extLst>
                <a:ext uri="{FF2B5EF4-FFF2-40B4-BE49-F238E27FC236}">
                  <a16:creationId xmlns:a16="http://schemas.microsoft.com/office/drawing/2014/main" id="{86CB7D75-E250-4B1E-A009-C97EBD1FDF3E}"/>
                </a:ext>
              </a:extLst>
            </p:cNvPr>
            <p:cNvSpPr>
              <a:spLocks/>
            </p:cNvSpPr>
            <p:nvPr/>
          </p:nvSpPr>
          <p:spPr bwMode="auto">
            <a:xfrm>
              <a:off x="4632484" y="3134802"/>
              <a:ext cx="841375" cy="528638"/>
            </a:xfrm>
            <a:custGeom>
              <a:avLst/>
              <a:gdLst>
                <a:gd name="T0" fmla="*/ 0 w 530"/>
                <a:gd name="T1" fmla="*/ 0 h 333"/>
                <a:gd name="T2" fmla="*/ 187 w 530"/>
                <a:gd name="T3" fmla="*/ 333 h 333"/>
                <a:gd name="T4" fmla="*/ 530 w 530"/>
                <a:gd name="T5" fmla="*/ 333 h 333"/>
              </a:gdLst>
              <a:ahLst/>
              <a:cxnLst>
                <a:cxn ang="0">
                  <a:pos x="T0" y="T1"/>
                </a:cxn>
                <a:cxn ang="0">
                  <a:pos x="T2" y="T3"/>
                </a:cxn>
                <a:cxn ang="0">
                  <a:pos x="T4" y="T5"/>
                </a:cxn>
              </a:cxnLst>
              <a:rect l="0" t="0" r="r" b="b"/>
              <a:pathLst>
                <a:path w="530" h="333">
                  <a:moveTo>
                    <a:pt x="0" y="0"/>
                  </a:moveTo>
                  <a:lnTo>
                    <a:pt x="187" y="333"/>
                  </a:lnTo>
                  <a:lnTo>
                    <a:pt x="530" y="333"/>
                  </a:lnTo>
                </a:path>
              </a:pathLst>
            </a:custGeom>
            <a:noFill/>
            <a:ln w="15875" cap="flat">
              <a:solidFill>
                <a:srgbClr val="00A3E0"/>
              </a:solidFill>
              <a:prstDash val="solid"/>
              <a:miter lim="800000"/>
              <a:headEnd w="med" len="sm"/>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8">
              <a:extLst>
                <a:ext uri="{FF2B5EF4-FFF2-40B4-BE49-F238E27FC236}">
                  <a16:creationId xmlns:a16="http://schemas.microsoft.com/office/drawing/2014/main" id="{A87AC283-0776-476C-B1EE-2DC76B88167D}"/>
                </a:ext>
              </a:extLst>
            </p:cNvPr>
            <p:cNvSpPr>
              <a:spLocks/>
            </p:cNvSpPr>
            <p:nvPr/>
          </p:nvSpPr>
          <p:spPr bwMode="auto">
            <a:xfrm>
              <a:off x="4186396" y="4274627"/>
              <a:ext cx="2840038" cy="2035175"/>
            </a:xfrm>
            <a:custGeom>
              <a:avLst/>
              <a:gdLst>
                <a:gd name="T0" fmla="*/ 291 w 1789"/>
                <a:gd name="T1" fmla="*/ 0 h 1282"/>
                <a:gd name="T2" fmla="*/ 0 w 1789"/>
                <a:gd name="T3" fmla="*/ 532 h 1282"/>
                <a:gd name="T4" fmla="*/ 437 w 1789"/>
                <a:gd name="T5" fmla="*/ 1282 h 1282"/>
                <a:gd name="T6" fmla="*/ 1352 w 1789"/>
                <a:gd name="T7" fmla="*/ 1282 h 1282"/>
                <a:gd name="T8" fmla="*/ 1789 w 1789"/>
                <a:gd name="T9" fmla="*/ 521 h 1282"/>
              </a:gdLst>
              <a:ahLst/>
              <a:cxnLst>
                <a:cxn ang="0">
                  <a:pos x="T0" y="T1"/>
                </a:cxn>
                <a:cxn ang="0">
                  <a:pos x="T2" y="T3"/>
                </a:cxn>
                <a:cxn ang="0">
                  <a:pos x="T4" y="T5"/>
                </a:cxn>
                <a:cxn ang="0">
                  <a:pos x="T6" y="T7"/>
                </a:cxn>
                <a:cxn ang="0">
                  <a:pos x="T8" y="T9"/>
                </a:cxn>
              </a:cxnLst>
              <a:rect l="0" t="0" r="r" b="b"/>
              <a:pathLst>
                <a:path w="1789" h="1282">
                  <a:moveTo>
                    <a:pt x="291" y="0"/>
                  </a:moveTo>
                  <a:lnTo>
                    <a:pt x="0" y="532"/>
                  </a:lnTo>
                  <a:lnTo>
                    <a:pt x="437" y="1282"/>
                  </a:lnTo>
                  <a:lnTo>
                    <a:pt x="1352" y="1282"/>
                  </a:lnTo>
                  <a:lnTo>
                    <a:pt x="1789" y="521"/>
                  </a:lnTo>
                </a:path>
              </a:pathLst>
            </a:custGeom>
            <a:noFill/>
            <a:ln w="15875" cap="flat">
              <a:solidFill>
                <a:srgbClr val="00A3E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9">
              <a:extLst>
                <a:ext uri="{FF2B5EF4-FFF2-40B4-BE49-F238E27FC236}">
                  <a16:creationId xmlns:a16="http://schemas.microsoft.com/office/drawing/2014/main" id="{E6A0A9DF-B14D-4A82-B330-49FE6BB7323E}"/>
                </a:ext>
              </a:extLst>
            </p:cNvPr>
            <p:cNvSpPr>
              <a:spLocks/>
            </p:cNvSpPr>
            <p:nvPr/>
          </p:nvSpPr>
          <p:spPr bwMode="auto">
            <a:xfrm>
              <a:off x="4880134" y="3861877"/>
              <a:ext cx="1881188" cy="793750"/>
            </a:xfrm>
            <a:custGeom>
              <a:avLst/>
              <a:gdLst>
                <a:gd name="T0" fmla="*/ 0 w 1185"/>
                <a:gd name="T1" fmla="*/ 0 h 500"/>
                <a:gd name="T2" fmla="*/ 904 w 1185"/>
                <a:gd name="T3" fmla="*/ 0 h 500"/>
                <a:gd name="T4" fmla="*/ 1185 w 1185"/>
                <a:gd name="T5" fmla="*/ 500 h 500"/>
              </a:gdLst>
              <a:ahLst/>
              <a:cxnLst>
                <a:cxn ang="0">
                  <a:pos x="T0" y="T1"/>
                </a:cxn>
                <a:cxn ang="0">
                  <a:pos x="T2" y="T3"/>
                </a:cxn>
                <a:cxn ang="0">
                  <a:pos x="T4" y="T5"/>
                </a:cxn>
              </a:cxnLst>
              <a:rect l="0" t="0" r="r" b="b"/>
              <a:pathLst>
                <a:path w="1185" h="500">
                  <a:moveTo>
                    <a:pt x="0" y="0"/>
                  </a:moveTo>
                  <a:lnTo>
                    <a:pt x="904" y="0"/>
                  </a:lnTo>
                  <a:lnTo>
                    <a:pt x="1185" y="500"/>
                  </a:lnTo>
                </a:path>
              </a:pathLst>
            </a:custGeom>
            <a:noFill/>
            <a:ln w="15875" cap="flat">
              <a:solidFill>
                <a:srgbClr val="00A3E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10">
              <a:extLst>
                <a:ext uri="{FF2B5EF4-FFF2-40B4-BE49-F238E27FC236}">
                  <a16:creationId xmlns:a16="http://schemas.microsoft.com/office/drawing/2014/main" id="{37807BB4-F616-4513-8152-AD96A87B7740}"/>
                </a:ext>
              </a:extLst>
            </p:cNvPr>
            <p:cNvSpPr>
              <a:spLocks/>
            </p:cNvSpPr>
            <p:nvPr/>
          </p:nvSpPr>
          <p:spPr bwMode="auto">
            <a:xfrm>
              <a:off x="6562884" y="4688965"/>
              <a:ext cx="1354138" cy="727075"/>
            </a:xfrm>
            <a:custGeom>
              <a:avLst/>
              <a:gdLst>
                <a:gd name="T0" fmla="*/ 0 w 853"/>
                <a:gd name="T1" fmla="*/ 458 h 458"/>
                <a:gd name="T2" fmla="*/ 281 w 853"/>
                <a:gd name="T3" fmla="*/ 0 h 458"/>
                <a:gd name="T4" fmla="*/ 853 w 853"/>
                <a:gd name="T5" fmla="*/ 0 h 458"/>
              </a:gdLst>
              <a:ahLst/>
              <a:cxnLst>
                <a:cxn ang="0">
                  <a:pos x="T0" y="T1"/>
                </a:cxn>
                <a:cxn ang="0">
                  <a:pos x="T2" y="T3"/>
                </a:cxn>
                <a:cxn ang="0">
                  <a:pos x="T4" y="T5"/>
                </a:cxn>
              </a:cxnLst>
              <a:rect l="0" t="0" r="r" b="b"/>
              <a:pathLst>
                <a:path w="853" h="458">
                  <a:moveTo>
                    <a:pt x="0" y="458"/>
                  </a:moveTo>
                  <a:lnTo>
                    <a:pt x="281" y="0"/>
                  </a:lnTo>
                  <a:lnTo>
                    <a:pt x="853" y="0"/>
                  </a:lnTo>
                </a:path>
              </a:pathLst>
            </a:custGeom>
            <a:noFill/>
            <a:ln w="15875" cap="flat">
              <a:solidFill>
                <a:srgbClr val="00A3E0"/>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11">
              <a:extLst>
                <a:ext uri="{FF2B5EF4-FFF2-40B4-BE49-F238E27FC236}">
                  <a16:creationId xmlns:a16="http://schemas.microsoft.com/office/drawing/2014/main" id="{DBAD4EF9-8FA4-44CF-BD34-0ABA1097BDF7}"/>
                </a:ext>
              </a:extLst>
            </p:cNvPr>
            <p:cNvSpPr>
              <a:spLocks/>
            </p:cNvSpPr>
            <p:nvPr/>
          </p:nvSpPr>
          <p:spPr bwMode="auto">
            <a:xfrm>
              <a:off x="6926421" y="5119177"/>
              <a:ext cx="841375" cy="528638"/>
            </a:xfrm>
            <a:custGeom>
              <a:avLst/>
              <a:gdLst>
                <a:gd name="T0" fmla="*/ 0 w 530"/>
                <a:gd name="T1" fmla="*/ 333 h 333"/>
                <a:gd name="T2" fmla="*/ 198 w 530"/>
                <a:gd name="T3" fmla="*/ 0 h 333"/>
                <a:gd name="T4" fmla="*/ 530 w 530"/>
                <a:gd name="T5" fmla="*/ 0 h 333"/>
              </a:gdLst>
              <a:ahLst/>
              <a:cxnLst>
                <a:cxn ang="0">
                  <a:pos x="T0" y="T1"/>
                </a:cxn>
                <a:cxn ang="0">
                  <a:pos x="T2" y="T3"/>
                </a:cxn>
                <a:cxn ang="0">
                  <a:pos x="T4" y="T5"/>
                </a:cxn>
              </a:cxnLst>
              <a:rect l="0" t="0" r="r" b="b"/>
              <a:pathLst>
                <a:path w="530" h="333">
                  <a:moveTo>
                    <a:pt x="0" y="333"/>
                  </a:moveTo>
                  <a:lnTo>
                    <a:pt x="198" y="0"/>
                  </a:lnTo>
                  <a:lnTo>
                    <a:pt x="530" y="0"/>
                  </a:lnTo>
                </a:path>
              </a:pathLst>
            </a:custGeom>
            <a:noFill/>
            <a:ln w="15875" cap="flat">
              <a:solidFill>
                <a:srgbClr val="009A44"/>
              </a:solidFill>
              <a:prstDash val="solid"/>
              <a:miter lim="800000"/>
              <a:headEnd/>
              <a:tailEnd type="arrow"/>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Freeform 12">
              <a:extLst>
                <a:ext uri="{FF2B5EF4-FFF2-40B4-BE49-F238E27FC236}">
                  <a16:creationId xmlns:a16="http://schemas.microsoft.com/office/drawing/2014/main" id="{47B83DD8-E876-4CE0-864C-941CEA9E7996}"/>
                </a:ext>
              </a:extLst>
            </p:cNvPr>
            <p:cNvSpPr>
              <a:spLocks/>
            </p:cNvSpPr>
            <p:nvPr/>
          </p:nvSpPr>
          <p:spPr bwMode="auto">
            <a:xfrm>
              <a:off x="6480335" y="2455352"/>
              <a:ext cx="2984779" cy="2447925"/>
            </a:xfrm>
            <a:custGeom>
              <a:avLst/>
              <a:gdLst>
                <a:gd name="T0" fmla="*/ 302 w 1778"/>
                <a:gd name="T1" fmla="*/ 1282 h 1542"/>
                <a:gd name="T2" fmla="*/ 0 w 1778"/>
                <a:gd name="T3" fmla="*/ 771 h 1542"/>
                <a:gd name="T4" fmla="*/ 447 w 1778"/>
                <a:gd name="T5" fmla="*/ 0 h 1542"/>
                <a:gd name="T6" fmla="*/ 1342 w 1778"/>
                <a:gd name="T7" fmla="*/ 0 h 1542"/>
                <a:gd name="T8" fmla="*/ 1778 w 1778"/>
                <a:gd name="T9" fmla="*/ 761 h 1542"/>
                <a:gd name="T10" fmla="*/ 1342 w 1778"/>
                <a:gd name="T11" fmla="*/ 1542 h 1542"/>
                <a:gd name="T12" fmla="*/ 447 w 1778"/>
                <a:gd name="T13" fmla="*/ 1542 h 1542"/>
              </a:gdLst>
              <a:ahLst/>
              <a:cxnLst>
                <a:cxn ang="0">
                  <a:pos x="T0" y="T1"/>
                </a:cxn>
                <a:cxn ang="0">
                  <a:pos x="T2" y="T3"/>
                </a:cxn>
                <a:cxn ang="0">
                  <a:pos x="T4" y="T5"/>
                </a:cxn>
                <a:cxn ang="0">
                  <a:pos x="T6" y="T7"/>
                </a:cxn>
                <a:cxn ang="0">
                  <a:pos x="T8" y="T9"/>
                </a:cxn>
                <a:cxn ang="0">
                  <a:pos x="T10" y="T11"/>
                </a:cxn>
                <a:cxn ang="0">
                  <a:pos x="T12" y="T13"/>
                </a:cxn>
              </a:cxnLst>
              <a:rect l="0" t="0" r="r" b="b"/>
              <a:pathLst>
                <a:path w="1778" h="1542">
                  <a:moveTo>
                    <a:pt x="302" y="1282"/>
                  </a:moveTo>
                  <a:lnTo>
                    <a:pt x="0" y="771"/>
                  </a:lnTo>
                  <a:lnTo>
                    <a:pt x="447" y="0"/>
                  </a:lnTo>
                  <a:lnTo>
                    <a:pt x="1342" y="0"/>
                  </a:lnTo>
                  <a:lnTo>
                    <a:pt x="1778" y="761"/>
                  </a:lnTo>
                  <a:lnTo>
                    <a:pt x="1342" y="1542"/>
                  </a:lnTo>
                  <a:lnTo>
                    <a:pt x="447" y="1542"/>
                  </a:lnTo>
                </a:path>
              </a:pathLst>
            </a:custGeom>
            <a:noFill/>
            <a:ln w="15875" cap="flat">
              <a:solidFill>
                <a:srgbClr val="009A4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FB137E79-21D5-4EE7-A54F-6ABC96318630}"/>
                </a:ext>
              </a:extLst>
            </p:cNvPr>
            <p:cNvSpPr/>
            <p:nvPr/>
          </p:nvSpPr>
          <p:spPr>
            <a:xfrm>
              <a:off x="1648523" y="3374007"/>
              <a:ext cx="452945" cy="452945"/>
            </a:xfrm>
            <a:prstGeom prst="ellipse">
              <a:avLst/>
            </a:prstGeom>
            <a:solidFill>
              <a:schemeClr val="bg1"/>
            </a:solidFill>
            <a:ln w="19050">
              <a:solidFill>
                <a:srgbClr val="86BC2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1</a:t>
              </a:r>
            </a:p>
          </p:txBody>
        </p:sp>
        <p:sp>
          <p:nvSpPr>
            <p:cNvPr id="16" name="Oval 15">
              <a:extLst>
                <a:ext uri="{FF2B5EF4-FFF2-40B4-BE49-F238E27FC236}">
                  <a16:creationId xmlns:a16="http://schemas.microsoft.com/office/drawing/2014/main" id="{74815731-9E71-4C08-9D0E-022F07EDEC4C}"/>
                </a:ext>
              </a:extLst>
            </p:cNvPr>
            <p:cNvSpPr/>
            <p:nvPr/>
          </p:nvSpPr>
          <p:spPr>
            <a:xfrm>
              <a:off x="4042473" y="4912294"/>
              <a:ext cx="452945" cy="452945"/>
            </a:xfrm>
            <a:prstGeom prst="ellipse">
              <a:avLst/>
            </a:prstGeom>
            <a:solidFill>
              <a:schemeClr val="bg1"/>
            </a:solidFill>
            <a:ln w="19050">
              <a:solidFill>
                <a:srgbClr val="00A3E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17" name="Oval 16">
              <a:extLst>
                <a:ext uri="{FF2B5EF4-FFF2-40B4-BE49-F238E27FC236}">
                  <a16:creationId xmlns:a16="http://schemas.microsoft.com/office/drawing/2014/main" id="{48433ECF-82C1-4213-BE98-D5276413B091}"/>
                </a:ext>
              </a:extLst>
            </p:cNvPr>
            <p:cNvSpPr/>
            <p:nvPr/>
          </p:nvSpPr>
          <p:spPr>
            <a:xfrm>
              <a:off x="6224906" y="3327852"/>
              <a:ext cx="498683" cy="504883"/>
            </a:xfrm>
            <a:prstGeom prst="ellipse">
              <a:avLst/>
            </a:prstGeom>
            <a:solidFill>
              <a:schemeClr val="bg1"/>
            </a:solidFill>
            <a:ln w="19050">
              <a:solidFill>
                <a:srgbClr val="009A4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3</a:t>
              </a:r>
            </a:p>
          </p:txBody>
        </p:sp>
        <p:sp>
          <p:nvSpPr>
            <p:cNvPr id="18" name="TextBox 17">
              <a:extLst>
                <a:ext uri="{FF2B5EF4-FFF2-40B4-BE49-F238E27FC236}">
                  <a16:creationId xmlns:a16="http://schemas.microsoft.com/office/drawing/2014/main" id="{EBA5CC2C-8F45-48D3-95BB-9D726D45C2CF}"/>
                </a:ext>
              </a:extLst>
            </p:cNvPr>
            <p:cNvSpPr txBox="1"/>
            <p:nvPr/>
          </p:nvSpPr>
          <p:spPr>
            <a:xfrm>
              <a:off x="2369777" y="2914617"/>
              <a:ext cx="1942732" cy="1272339"/>
            </a:xfrm>
            <a:prstGeom prst="rect">
              <a:avLst/>
            </a:prstGeom>
            <a:noFill/>
          </p:spPr>
          <p:txBody>
            <a:bodyPr wrap="square" lIns="0" tIns="0" rIns="0" bIns="0" rtlCol="0">
              <a:spAutoFit/>
            </a:bodyPr>
            <a:lstStyle/>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ân</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đối</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rPr>
                <a:t>dòng</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tiền</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Xây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ự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quy</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trình</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hính</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sách</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và</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ơ</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hế</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giám</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rPr>
                <a:t>sát</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ngân quỹ</a:t>
              </a:r>
            </a:p>
            <a:p>
              <a:pPr marL="285750" marR="0" lvl="0" indent="-285750"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1600">
                  <a:solidFill>
                    <a:prstClr val="black"/>
                  </a:solidFill>
                  <a:latin typeface="Calibri" panose="020F0502020204030204"/>
                </a:rPr>
                <a:t>Minh bạch tài chính</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610FBA75-7A60-4264-BC0F-9A4172A3A1C1}"/>
                </a:ext>
              </a:extLst>
            </p:cNvPr>
            <p:cNvSpPr txBox="1"/>
            <p:nvPr/>
          </p:nvSpPr>
          <p:spPr>
            <a:xfrm>
              <a:off x="4548260" y="4604692"/>
              <a:ext cx="2179472" cy="904774"/>
            </a:xfrm>
            <a:prstGeom prst="rect">
              <a:avLst/>
            </a:prstGeom>
            <a:noFill/>
          </p:spPr>
          <p:txBody>
            <a:bodyPr wrap="square" lIns="0" tIns="0" rIns="0" bIns="0" rtlCol="0">
              <a:spAutoFit/>
            </a:bodyPr>
            <a:lstStyle/>
            <a:p>
              <a:pPr marL="285750" marR="0" lvl="0" indent="-285750" defTabSz="914400" rtl="0" eaLnBrk="1" fontAlgn="auto" latinLnBrk="0" hangingPunct="1">
                <a:lnSpc>
                  <a:spcPct val="100000"/>
                </a:lnSpc>
                <a:spcAft>
                  <a:spcPts val="0"/>
                </a:spcAft>
                <a:buClrTx/>
                <a:buSzPct val="100000"/>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Xây</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ự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khu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quản</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lý</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khủ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rPr>
                <a:t>hoảng</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a:t>
              </a:r>
              <a:endParaRPr lang="en-US" sz="1600">
                <a:solidFill>
                  <a:prstClr val="black"/>
                </a:solidFill>
                <a:latin typeface="Calibri" panose="020F0502020204030204"/>
              </a:endParaRPr>
            </a:p>
            <a:p>
              <a:pPr marL="285750" marR="0" lvl="0" indent="-285750" defTabSz="914400" rtl="0" eaLnBrk="1" fontAlgn="auto" latinLnBrk="0" hangingPunct="1">
                <a:lnSpc>
                  <a:spcPct val="100000"/>
                </a:lnSpc>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ập kế </a:t>
              </a:r>
              <a:r>
                <a:rPr kumimoji="0" lang="en-US" sz="1600" b="0" i="0" u="none" strike="noStrike" kern="1200" cap="none" spc="0" normalizeH="0" baseline="0" noProof="0" err="1">
                  <a:ln>
                    <a:noFill/>
                  </a:ln>
                  <a:solidFill>
                    <a:prstClr val="black"/>
                  </a:solidFill>
                  <a:effectLst/>
                  <a:uLnTx/>
                  <a:uFillTx/>
                  <a:latin typeface="Calibri" panose="020F0502020204030204"/>
                  <a:ea typeface="+mn-ea"/>
                  <a:cs typeface="+mn-cs"/>
                </a:rPr>
                <a:t>hoạch</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kinh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oanh</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liên</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tục</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5B36D3CF-D9F4-4B1B-892D-68DC7B83D76B}"/>
                </a:ext>
              </a:extLst>
            </p:cNvPr>
            <p:cNvSpPr txBox="1"/>
            <p:nvPr/>
          </p:nvSpPr>
          <p:spPr>
            <a:xfrm>
              <a:off x="7089880" y="3472601"/>
              <a:ext cx="1888503" cy="90477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Tă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ườ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áp</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ụ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ô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nghệ</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tro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các</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hoạ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độ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Sản</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xuất</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Kinh </a:t>
              </a:r>
              <a:r>
                <a:rPr kumimoji="0" lang="en-US" sz="1600" b="0" i="0" u="none" strike="noStrike" kern="1200" cap="none" spc="0" normalizeH="0" baseline="0" noProof="0" dirty="0" err="1">
                  <a:ln>
                    <a:noFill/>
                  </a:ln>
                  <a:solidFill>
                    <a:prstClr val="black"/>
                  </a:solidFill>
                  <a:effectLst/>
                  <a:uLnTx/>
                  <a:uFillTx/>
                  <a:latin typeface="Calibri" panose="020F0502020204030204"/>
                  <a:ea typeface="+mn-ea"/>
                  <a:cs typeface="+mn-cs"/>
                </a:rPr>
                <a:t>doanh</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Freeform 57">
              <a:extLst>
                <a:ext uri="{FF2B5EF4-FFF2-40B4-BE49-F238E27FC236}">
                  <a16:creationId xmlns:a16="http://schemas.microsoft.com/office/drawing/2014/main" id="{4F2CF451-E758-403E-95B5-FD521A7E5A00}"/>
                </a:ext>
              </a:extLst>
            </p:cNvPr>
            <p:cNvSpPr/>
            <p:nvPr/>
          </p:nvSpPr>
          <p:spPr bwMode="gray">
            <a:xfrm>
              <a:off x="2281396" y="4385752"/>
              <a:ext cx="2032000" cy="535781"/>
            </a:xfrm>
            <a:custGeom>
              <a:avLst/>
              <a:gdLst>
                <a:gd name="connsiteX0" fmla="*/ 0 w 2032000"/>
                <a:gd name="connsiteY0" fmla="*/ 0 h 533400"/>
                <a:gd name="connsiteX1" fmla="*/ 2032000 w 2032000"/>
                <a:gd name="connsiteY1" fmla="*/ 0 h 533400"/>
                <a:gd name="connsiteX2" fmla="*/ 1733550 w 2032000"/>
                <a:gd name="connsiteY2" fmla="*/ 533400 h 533400"/>
                <a:gd name="connsiteX3" fmla="*/ 317500 w 2032000"/>
                <a:gd name="connsiteY3" fmla="*/ 533400 h 533400"/>
                <a:gd name="connsiteX4" fmla="*/ 0 w 2032000"/>
                <a:gd name="connsiteY4" fmla="*/ 0 h 533400"/>
                <a:gd name="connsiteX0" fmla="*/ 0 w 2032000"/>
                <a:gd name="connsiteY0" fmla="*/ 0 h 535781"/>
                <a:gd name="connsiteX1" fmla="*/ 2032000 w 2032000"/>
                <a:gd name="connsiteY1" fmla="*/ 0 h 535781"/>
                <a:gd name="connsiteX2" fmla="*/ 1733550 w 2032000"/>
                <a:gd name="connsiteY2" fmla="*/ 533400 h 535781"/>
                <a:gd name="connsiteX3" fmla="*/ 307975 w 2032000"/>
                <a:gd name="connsiteY3" fmla="*/ 535781 h 535781"/>
                <a:gd name="connsiteX4" fmla="*/ 0 w 2032000"/>
                <a:gd name="connsiteY4" fmla="*/ 0 h 535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535781">
                  <a:moveTo>
                    <a:pt x="0" y="0"/>
                  </a:moveTo>
                  <a:lnTo>
                    <a:pt x="2032000" y="0"/>
                  </a:lnTo>
                  <a:lnTo>
                    <a:pt x="1733550" y="533400"/>
                  </a:lnTo>
                  <a:lnTo>
                    <a:pt x="307975" y="535781"/>
                  </a:lnTo>
                  <a:lnTo>
                    <a:pt x="0" y="0"/>
                  </a:lnTo>
                  <a:close/>
                </a:path>
              </a:pathLst>
            </a:cu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77855BA3-2CAA-4B13-856E-A2762D300DDB}"/>
                </a:ext>
              </a:extLst>
            </p:cNvPr>
            <p:cNvSpPr txBox="1"/>
            <p:nvPr/>
          </p:nvSpPr>
          <p:spPr>
            <a:xfrm>
              <a:off x="2617721" y="4435805"/>
              <a:ext cx="1386653" cy="4523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lang="en-US" sz="1600">
                  <a:solidFill>
                    <a:prstClr val="white"/>
                  </a:solidFill>
                  <a:latin typeface="Calibri" panose="020F0502020204030204"/>
                </a:rPr>
                <a:t>D</a:t>
              </a: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uy trì nguồn lực tài chính</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Freeform 62">
              <a:extLst>
                <a:ext uri="{FF2B5EF4-FFF2-40B4-BE49-F238E27FC236}">
                  <a16:creationId xmlns:a16="http://schemas.microsoft.com/office/drawing/2014/main" id="{91D18092-C9D9-4FCA-B8BB-A9D923DEAD7B}"/>
                </a:ext>
              </a:extLst>
            </p:cNvPr>
            <p:cNvSpPr/>
            <p:nvPr/>
          </p:nvSpPr>
          <p:spPr bwMode="gray">
            <a:xfrm>
              <a:off x="4573745" y="5774577"/>
              <a:ext cx="2073276" cy="535781"/>
            </a:xfrm>
            <a:custGeom>
              <a:avLst/>
              <a:gdLst>
                <a:gd name="connsiteX0" fmla="*/ 0 w 2032000"/>
                <a:gd name="connsiteY0" fmla="*/ 0 h 533400"/>
                <a:gd name="connsiteX1" fmla="*/ 2032000 w 2032000"/>
                <a:gd name="connsiteY1" fmla="*/ 0 h 533400"/>
                <a:gd name="connsiteX2" fmla="*/ 1733550 w 2032000"/>
                <a:gd name="connsiteY2" fmla="*/ 533400 h 533400"/>
                <a:gd name="connsiteX3" fmla="*/ 317500 w 2032000"/>
                <a:gd name="connsiteY3" fmla="*/ 533400 h 533400"/>
                <a:gd name="connsiteX4" fmla="*/ 0 w 2032000"/>
                <a:gd name="connsiteY4" fmla="*/ 0 h 533400"/>
                <a:gd name="connsiteX0" fmla="*/ 0 w 2032000"/>
                <a:gd name="connsiteY0" fmla="*/ 0 h 535781"/>
                <a:gd name="connsiteX1" fmla="*/ 2032000 w 2032000"/>
                <a:gd name="connsiteY1" fmla="*/ 0 h 535781"/>
                <a:gd name="connsiteX2" fmla="*/ 1733550 w 2032000"/>
                <a:gd name="connsiteY2" fmla="*/ 533400 h 535781"/>
                <a:gd name="connsiteX3" fmla="*/ 307975 w 2032000"/>
                <a:gd name="connsiteY3" fmla="*/ 535781 h 535781"/>
                <a:gd name="connsiteX4" fmla="*/ 0 w 2032000"/>
                <a:gd name="connsiteY4" fmla="*/ 0 h 535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535781">
                  <a:moveTo>
                    <a:pt x="0" y="0"/>
                  </a:moveTo>
                  <a:lnTo>
                    <a:pt x="2032000" y="0"/>
                  </a:lnTo>
                  <a:lnTo>
                    <a:pt x="1733550" y="533400"/>
                  </a:lnTo>
                  <a:lnTo>
                    <a:pt x="307975" y="535781"/>
                  </a:lnTo>
                  <a:lnTo>
                    <a:pt x="0" y="0"/>
                  </a:lnTo>
                  <a:close/>
                </a:path>
              </a:pathLst>
            </a:cu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E1E34354-7836-4D77-9A43-AB9790B55FD6}"/>
                </a:ext>
              </a:extLst>
            </p:cNvPr>
            <p:cNvSpPr txBox="1"/>
            <p:nvPr/>
          </p:nvSpPr>
          <p:spPr>
            <a:xfrm>
              <a:off x="4797755" y="5816273"/>
              <a:ext cx="1574403" cy="4523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Duy trì kinh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doanh</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liên</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tục</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5" name="Freeform 67">
              <a:extLst>
                <a:ext uri="{FF2B5EF4-FFF2-40B4-BE49-F238E27FC236}">
                  <a16:creationId xmlns:a16="http://schemas.microsoft.com/office/drawing/2014/main" id="{B350405E-902B-4A44-A437-EB93A2412A38}"/>
                </a:ext>
              </a:extLst>
            </p:cNvPr>
            <p:cNvSpPr/>
            <p:nvPr/>
          </p:nvSpPr>
          <p:spPr bwMode="gray">
            <a:xfrm flipV="1">
              <a:off x="6880384" y="2454794"/>
              <a:ext cx="2187582" cy="535781"/>
            </a:xfrm>
            <a:custGeom>
              <a:avLst/>
              <a:gdLst>
                <a:gd name="connsiteX0" fmla="*/ 0 w 2032000"/>
                <a:gd name="connsiteY0" fmla="*/ 0 h 533400"/>
                <a:gd name="connsiteX1" fmla="*/ 2032000 w 2032000"/>
                <a:gd name="connsiteY1" fmla="*/ 0 h 533400"/>
                <a:gd name="connsiteX2" fmla="*/ 1733550 w 2032000"/>
                <a:gd name="connsiteY2" fmla="*/ 533400 h 533400"/>
                <a:gd name="connsiteX3" fmla="*/ 317500 w 2032000"/>
                <a:gd name="connsiteY3" fmla="*/ 533400 h 533400"/>
                <a:gd name="connsiteX4" fmla="*/ 0 w 2032000"/>
                <a:gd name="connsiteY4" fmla="*/ 0 h 533400"/>
                <a:gd name="connsiteX0" fmla="*/ 0 w 2032000"/>
                <a:gd name="connsiteY0" fmla="*/ 0 h 535781"/>
                <a:gd name="connsiteX1" fmla="*/ 2032000 w 2032000"/>
                <a:gd name="connsiteY1" fmla="*/ 0 h 535781"/>
                <a:gd name="connsiteX2" fmla="*/ 1733550 w 2032000"/>
                <a:gd name="connsiteY2" fmla="*/ 533400 h 535781"/>
                <a:gd name="connsiteX3" fmla="*/ 307975 w 2032000"/>
                <a:gd name="connsiteY3" fmla="*/ 535781 h 535781"/>
                <a:gd name="connsiteX4" fmla="*/ 0 w 2032000"/>
                <a:gd name="connsiteY4" fmla="*/ 0 h 535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535781">
                  <a:moveTo>
                    <a:pt x="0" y="0"/>
                  </a:moveTo>
                  <a:lnTo>
                    <a:pt x="2032000" y="0"/>
                  </a:lnTo>
                  <a:lnTo>
                    <a:pt x="1733550" y="533400"/>
                  </a:lnTo>
                  <a:lnTo>
                    <a:pt x="307975" y="535781"/>
                  </a:lnTo>
                  <a:lnTo>
                    <a:pt x="0" y="0"/>
                  </a:lnTo>
                  <a:close/>
                </a:path>
              </a:pathLst>
            </a:cu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01D179DF-2234-4DB4-A6A3-8627EADC5884}"/>
                </a:ext>
              </a:extLst>
            </p:cNvPr>
            <p:cNvSpPr txBox="1"/>
            <p:nvPr/>
          </p:nvSpPr>
          <p:spPr>
            <a:xfrm>
              <a:off x="7025935" y="2545342"/>
              <a:ext cx="1843457" cy="67858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Tự</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động</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hóa</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số</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hóa</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các</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600" b="0" i="0" u="none" strike="noStrike" kern="1200" cap="none" spc="0" normalizeH="0" baseline="0" noProof="0" err="1">
                  <a:ln>
                    <a:noFill/>
                  </a:ln>
                  <a:solidFill>
                    <a:prstClr val="white"/>
                  </a:solidFill>
                  <a:effectLst/>
                  <a:uLnTx/>
                  <a:uFillTx/>
                  <a:latin typeface="Calibri" panose="020F0502020204030204"/>
                  <a:ea typeface="+mn-ea"/>
                  <a:cs typeface="+mn-cs"/>
                </a:rPr>
                <a:t>quy</a:t>
              </a:r>
              <a:r>
                <a:rPr kumimoji="0" lang="en-US" sz="1600" b="0" i="0" u="none" strike="noStrike" kern="1200" cap="none" spc="0" normalizeH="0" baseline="0" noProof="0">
                  <a:ln>
                    <a:noFill/>
                  </a:ln>
                  <a:solidFill>
                    <a:prstClr val="white"/>
                  </a:solidFill>
                  <a:effectLst/>
                  <a:uLnTx/>
                  <a:uFillTx/>
                  <a:latin typeface="Calibri" panose="020F0502020204030204"/>
                  <a:ea typeface="+mn-ea"/>
                  <a:cs typeface="+mn-cs"/>
                </a:rPr>
                <a:t> trình, tác vụ </a:t>
              </a:r>
              <a:r>
                <a:rPr kumimoji="0" lang="en-US" sz="1600" b="0" i="0" u="none" strike="noStrike" kern="1200" cap="none" spc="0" normalizeH="0" baseline="0" noProof="0" dirty="0" err="1">
                  <a:ln>
                    <a:noFill/>
                  </a:ln>
                  <a:solidFill>
                    <a:prstClr val="white"/>
                  </a:solidFill>
                  <a:effectLst/>
                  <a:uLnTx/>
                  <a:uFillTx/>
                  <a:latin typeface="Calibri" panose="020F0502020204030204"/>
                  <a:ea typeface="+mn-ea"/>
                  <a:cs typeface="+mn-cs"/>
                </a:rPr>
                <a:t>nghiệp</a:t>
              </a:r>
              <a:endPar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7" name="Title 4">
            <a:extLst>
              <a:ext uri="{FF2B5EF4-FFF2-40B4-BE49-F238E27FC236}">
                <a16:creationId xmlns:a16="http://schemas.microsoft.com/office/drawing/2014/main" id="{7FEDB565-8779-491B-8C0E-8662E20B15B1}"/>
              </a:ext>
            </a:extLst>
          </p:cNvPr>
          <p:cNvSpPr txBox="1">
            <a:spLocks/>
          </p:cNvSpPr>
          <p:nvPr/>
        </p:nvSpPr>
        <p:spPr bwMode="gray">
          <a:xfrm>
            <a:off x="487045" y="904427"/>
            <a:ext cx="11341101" cy="360813"/>
          </a:xfrm>
          <a:prstGeom prst="rect">
            <a:avLst/>
          </a:prstGeom>
        </p:spPr>
        <p:txBody>
          <a:bodyPr vert="horz" lIns="0" tIns="0" rIns="0" bIns="0" rtlCol="0" anchor="t" anchorCtr="0">
            <a:noAutofit/>
          </a:bodyPr>
          <a:lstStyle>
            <a:lvl1pPr algn="l" defTabSz="1219170" rtl="0" eaLnBrk="1" latinLnBrk="0" hangingPunct="1">
              <a:lnSpc>
                <a:spcPct val="100000"/>
              </a:lnSpc>
              <a:spcBef>
                <a:spcPct val="0"/>
              </a:spcBef>
              <a:buNone/>
              <a:defRPr sz="1800" b="1" kern="1200">
                <a:solidFill>
                  <a:schemeClr val="tx1"/>
                </a:solidFill>
                <a:latin typeface="+mj-lt"/>
                <a:ea typeface="Open Sans" panose="020B0606030504020204" pitchFamily="34" charset="0"/>
                <a:cs typeface="Open Sans" panose="020B0606030504020204" pitchFamily="34" charset="0"/>
              </a:defRPr>
            </a:lvl1p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3200" b="1" i="0" u="none" strike="noStrike" kern="1200" cap="none" spc="0" normalizeH="0" baseline="0" noProof="0" dirty="0" err="1">
                <a:ln>
                  <a:noFill/>
                </a:ln>
                <a:solidFill>
                  <a:srgbClr val="81BC00"/>
                </a:solidFill>
                <a:effectLst/>
                <a:uLnTx/>
                <a:uFillTx/>
              </a:rPr>
              <a:t>Các</a:t>
            </a:r>
            <a:r>
              <a:rPr kumimoji="0" lang="en-US" sz="3200" b="1" i="0" u="none" strike="noStrike" kern="1200" cap="none" spc="0" normalizeH="0" baseline="0" noProof="0" dirty="0">
                <a:ln>
                  <a:noFill/>
                </a:ln>
                <a:solidFill>
                  <a:srgbClr val="81BC00"/>
                </a:solidFill>
                <a:effectLst/>
                <a:uLnTx/>
                <a:uFillTx/>
              </a:rPr>
              <a:t> </a:t>
            </a:r>
            <a:r>
              <a:rPr kumimoji="0" lang="en-US" sz="3200" b="1" i="0" u="none" strike="noStrike" kern="1200" cap="none" spc="0" normalizeH="0" baseline="0" noProof="0" dirty="0" err="1">
                <a:ln>
                  <a:noFill/>
                </a:ln>
                <a:solidFill>
                  <a:srgbClr val="81BC00"/>
                </a:solidFill>
                <a:effectLst/>
                <a:uLnTx/>
                <a:uFillTx/>
              </a:rPr>
              <a:t>Doanh</a:t>
            </a:r>
            <a:r>
              <a:rPr kumimoji="0" lang="en-US" sz="3200" b="1" i="0" u="none" strike="noStrike" kern="1200" cap="none" spc="0" normalizeH="0" baseline="0" noProof="0" dirty="0">
                <a:ln>
                  <a:noFill/>
                </a:ln>
                <a:solidFill>
                  <a:srgbClr val="81BC00"/>
                </a:solidFill>
                <a:effectLst/>
                <a:uLnTx/>
                <a:uFillTx/>
              </a:rPr>
              <a:t> </a:t>
            </a:r>
            <a:r>
              <a:rPr kumimoji="0" lang="en-US" sz="3200" b="1" i="0" u="none" strike="noStrike" kern="1200" cap="none" spc="0" normalizeH="0" baseline="0" noProof="0" dirty="0" err="1">
                <a:ln>
                  <a:noFill/>
                </a:ln>
                <a:solidFill>
                  <a:srgbClr val="81BC00"/>
                </a:solidFill>
                <a:effectLst/>
                <a:uLnTx/>
                <a:uFillTx/>
              </a:rPr>
              <a:t>nghiệp</a:t>
            </a:r>
            <a:r>
              <a:rPr kumimoji="0" lang="en-US" sz="3200" b="1" i="0" u="none" strike="noStrike" kern="1200" cap="none" spc="0" normalizeH="0" baseline="0" noProof="0" dirty="0">
                <a:ln>
                  <a:noFill/>
                </a:ln>
                <a:solidFill>
                  <a:srgbClr val="81BC00"/>
                </a:solidFill>
                <a:effectLst/>
                <a:uLnTx/>
                <a:uFillTx/>
              </a:rPr>
              <a:t> Việt </a:t>
            </a:r>
            <a:r>
              <a:rPr kumimoji="0" lang="en-US" sz="3200" b="1" i="0" u="none" strike="noStrike" kern="1200" cap="none" spc="0" normalizeH="0" baseline="0" noProof="0">
                <a:ln>
                  <a:noFill/>
                </a:ln>
                <a:solidFill>
                  <a:srgbClr val="81BC00"/>
                </a:solidFill>
                <a:effectLst/>
                <a:uLnTx/>
                <a:uFillTx/>
              </a:rPr>
              <a:t>Nam phải làm </a:t>
            </a:r>
            <a:r>
              <a:rPr kumimoji="0" lang="en-US" sz="3200" b="1" i="0" u="none" strike="noStrike" kern="1200" cap="none" spc="0" normalizeH="0" baseline="0" noProof="0" dirty="0" err="1">
                <a:ln>
                  <a:noFill/>
                </a:ln>
                <a:solidFill>
                  <a:srgbClr val="81BC00"/>
                </a:solidFill>
                <a:effectLst/>
                <a:uLnTx/>
                <a:uFillTx/>
              </a:rPr>
              <a:t>gì</a:t>
            </a:r>
            <a:r>
              <a:rPr kumimoji="0" lang="en-US" sz="3200" b="1" i="0" u="none" strike="noStrike" kern="1200" cap="none" spc="0" normalizeH="0" baseline="0" noProof="0" dirty="0">
                <a:ln>
                  <a:noFill/>
                </a:ln>
                <a:solidFill>
                  <a:srgbClr val="81BC00"/>
                </a:solidFill>
                <a:effectLst/>
                <a:uLnTx/>
                <a:uFillTx/>
              </a:rPr>
              <a:t>?</a:t>
            </a:r>
          </a:p>
          <a:p>
            <a:pPr marL="0" marR="0" lvl="0" indent="0" algn="l" defTabSz="1219170" rtl="0" eaLnBrk="1" fontAlgn="auto" latinLnBrk="0" hangingPunct="1">
              <a:lnSpc>
                <a:spcPct val="100000"/>
              </a:lnSpc>
              <a:spcBef>
                <a:spcPts val="0"/>
              </a:spcBef>
              <a:spcAft>
                <a:spcPts val="600"/>
              </a:spcAft>
              <a:buClrTx/>
              <a:buSzTx/>
              <a:buFontTx/>
              <a:buNone/>
              <a:tabLst/>
              <a:defRPr/>
            </a:pPr>
            <a:endParaRPr kumimoji="0" lang="en-SG" sz="3200" b="1" i="0" u="none" strike="noStrike" kern="1200" cap="none" spc="0" normalizeH="0" baseline="0" noProof="0" dirty="0">
              <a:ln>
                <a:noFill/>
              </a:ln>
              <a:solidFill>
                <a:prstClr val="black"/>
              </a:solidFill>
              <a:effectLst/>
              <a:uLnTx/>
              <a:uFillTx/>
              <a:cs typeface="Calibri" panose="020F0502020204030204" pitchFamily="34" charset="0"/>
            </a:endParaRPr>
          </a:p>
        </p:txBody>
      </p:sp>
    </p:spTree>
    <p:extLst>
      <p:ext uri="{BB962C8B-B14F-4D97-AF65-F5344CB8AC3E}">
        <p14:creationId xmlns:p14="http://schemas.microsoft.com/office/powerpoint/2010/main" val="42870675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230210"/>
            <a:ext cx="1547608" cy="895983"/>
          </a:xfrm>
          <a:prstGeom prst="rect">
            <a:avLst/>
          </a:prstGeom>
        </p:spPr>
      </p:pic>
      <p:sp>
        <p:nvSpPr>
          <p:cNvPr id="13" name="Rectangle 12">
            <a:extLst>
              <a:ext uri="{FF2B5EF4-FFF2-40B4-BE49-F238E27FC236}">
                <a16:creationId xmlns:a16="http://schemas.microsoft.com/office/drawing/2014/main" id="{DDA49807-B2ED-4F6E-9F27-A0311D8217CF}"/>
              </a:ext>
            </a:extLst>
          </p:cNvPr>
          <p:cNvSpPr/>
          <p:nvPr/>
        </p:nvSpPr>
        <p:spPr>
          <a:xfrm>
            <a:off x="368936" y="6456323"/>
            <a:ext cx="1791196" cy="276999"/>
          </a:xfrm>
          <a:prstGeom prst="rect">
            <a:avLst/>
          </a:prstGeom>
        </p:spPr>
        <p:txBody>
          <a:bodyPr wrap="non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pic>
        <p:nvPicPr>
          <p:cNvPr id="2" name="Picture 1">
            <a:extLst>
              <a:ext uri="{FF2B5EF4-FFF2-40B4-BE49-F238E27FC236}">
                <a16:creationId xmlns:a16="http://schemas.microsoft.com/office/drawing/2014/main" id="{07B67188-477A-4908-AD67-6BD2C4DB937A}"/>
              </a:ext>
            </a:extLst>
          </p:cNvPr>
          <p:cNvPicPr>
            <a:picLocks noChangeAspect="1"/>
          </p:cNvPicPr>
          <p:nvPr/>
        </p:nvPicPr>
        <p:blipFill>
          <a:blip r:embed="rId4"/>
          <a:stretch>
            <a:fillRect/>
          </a:stretch>
        </p:blipFill>
        <p:spPr>
          <a:xfrm>
            <a:off x="1264534" y="1418723"/>
            <a:ext cx="5659065" cy="4020553"/>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ECF16CEC-0126-4C5C-85D8-9353A2B9C542}"/>
              </a:ext>
            </a:extLst>
          </p:cNvPr>
          <p:cNvSpPr txBox="1"/>
          <p:nvPr/>
        </p:nvSpPr>
        <p:spPr>
          <a:xfrm>
            <a:off x="7630886" y="2282531"/>
            <a:ext cx="4125686" cy="2292935"/>
          </a:xfrm>
          <a:prstGeom prst="rect">
            <a:avLst/>
          </a:prstGeom>
          <a:noFill/>
        </p:spPr>
        <p:txBody>
          <a:bodyPr wrap="square" lIns="0" tIns="0" rIns="0" bIns="0" rtlCol="0">
            <a:spAutoFit/>
          </a:bodyPr>
          <a:lstStyle/>
          <a:p>
            <a:pPr marL="12700">
              <a:lnSpc>
                <a:spcPct val="100000"/>
              </a:lnSpc>
              <a:spcBef>
                <a:spcPts val="320"/>
              </a:spcBef>
            </a:pPr>
            <a:r>
              <a:rPr lang="en-US" spc="-25">
                <a:solidFill>
                  <a:srgbClr val="7FC343"/>
                </a:solidFill>
                <a:cs typeface="Noto Sans"/>
              </a:rPr>
              <a:t>C</a:t>
            </a:r>
            <a:r>
              <a:rPr lang="en-US" spc="-25">
                <a:solidFill>
                  <a:srgbClr val="7FC343"/>
                </a:solidFill>
                <a:cs typeface="Arial"/>
              </a:rPr>
              <a:t>ẩ</a:t>
            </a:r>
            <a:r>
              <a:rPr lang="en-US" spc="-25">
                <a:solidFill>
                  <a:srgbClr val="7FC343"/>
                </a:solidFill>
                <a:cs typeface="Noto Sans"/>
              </a:rPr>
              <a:t>m</a:t>
            </a:r>
            <a:r>
              <a:rPr lang="en-US" spc="-40">
                <a:solidFill>
                  <a:srgbClr val="7FC343"/>
                </a:solidFill>
                <a:cs typeface="Noto Sans"/>
              </a:rPr>
              <a:t> </a:t>
            </a:r>
            <a:r>
              <a:rPr lang="en-US" spc="-70">
                <a:solidFill>
                  <a:srgbClr val="7FC343"/>
                </a:solidFill>
                <a:cs typeface="Noto Sans"/>
              </a:rPr>
              <a:t>nang</a:t>
            </a:r>
            <a:r>
              <a:rPr lang="en-US">
                <a:cs typeface="Noto Sans"/>
              </a:rPr>
              <a:t> </a:t>
            </a:r>
            <a:r>
              <a:rPr lang="en-US" b="1" spc="-135">
                <a:solidFill>
                  <a:srgbClr val="7FC343"/>
                </a:solidFill>
                <a:cs typeface="Noto Sans"/>
              </a:rPr>
              <a:t>Ứng </a:t>
            </a:r>
            <a:r>
              <a:rPr lang="en-US" b="1" spc="-55">
                <a:solidFill>
                  <a:srgbClr val="7FC343"/>
                </a:solidFill>
                <a:cs typeface="Noto Sans"/>
              </a:rPr>
              <a:t>phó, </a:t>
            </a:r>
            <a:r>
              <a:rPr lang="en-US" b="1" spc="-60">
                <a:solidFill>
                  <a:srgbClr val="7FC343"/>
                </a:solidFill>
                <a:cs typeface="Noto Sans"/>
              </a:rPr>
              <a:t>phục hồi, </a:t>
            </a:r>
            <a:r>
              <a:rPr lang="en-US" b="1" spc="-75">
                <a:solidFill>
                  <a:srgbClr val="7FC343"/>
                </a:solidFill>
                <a:cs typeface="Noto Sans"/>
              </a:rPr>
              <a:t>phát triển  </a:t>
            </a:r>
            <a:r>
              <a:rPr lang="en-US" b="1" spc="-130">
                <a:solidFill>
                  <a:srgbClr val="7FC343"/>
                </a:solidFill>
                <a:cs typeface="Noto Sans"/>
              </a:rPr>
              <a:t>trong </a:t>
            </a:r>
            <a:r>
              <a:rPr lang="en-US" b="1" spc="-65">
                <a:solidFill>
                  <a:srgbClr val="7FC343"/>
                </a:solidFill>
                <a:cs typeface="Noto Sans"/>
              </a:rPr>
              <a:t>và </a:t>
            </a:r>
            <a:r>
              <a:rPr lang="en-US" b="1" spc="-50">
                <a:solidFill>
                  <a:srgbClr val="7FC343"/>
                </a:solidFill>
                <a:cs typeface="Noto Sans"/>
              </a:rPr>
              <a:t>sau </a:t>
            </a:r>
            <a:r>
              <a:rPr lang="en-US" b="1" spc="-100">
                <a:solidFill>
                  <a:srgbClr val="7FC343"/>
                </a:solidFill>
                <a:cs typeface="Noto Sans"/>
              </a:rPr>
              <a:t>khủng </a:t>
            </a:r>
            <a:r>
              <a:rPr lang="en-US" b="1" spc="-85">
                <a:solidFill>
                  <a:srgbClr val="7FC343"/>
                </a:solidFill>
                <a:cs typeface="Noto Sans"/>
              </a:rPr>
              <a:t>hoảng </a:t>
            </a:r>
            <a:r>
              <a:rPr lang="en-US" b="1" spc="-45">
                <a:solidFill>
                  <a:srgbClr val="7FC343"/>
                </a:solidFill>
                <a:cs typeface="Noto Sans"/>
              </a:rPr>
              <a:t>dành </a:t>
            </a:r>
            <a:r>
              <a:rPr lang="en-US" b="1" spc="-35">
                <a:solidFill>
                  <a:srgbClr val="7FC343"/>
                </a:solidFill>
                <a:cs typeface="Noto Sans"/>
              </a:rPr>
              <a:t>cho </a:t>
            </a:r>
            <a:r>
              <a:rPr lang="en-US" b="1" spc="-40">
                <a:solidFill>
                  <a:srgbClr val="7FC343"/>
                </a:solidFill>
                <a:cs typeface="Noto Sans"/>
              </a:rPr>
              <a:t>doanh</a:t>
            </a:r>
            <a:r>
              <a:rPr lang="en-US" b="1" spc="30">
                <a:solidFill>
                  <a:srgbClr val="7FC343"/>
                </a:solidFill>
                <a:cs typeface="Noto Sans"/>
              </a:rPr>
              <a:t> </a:t>
            </a:r>
            <a:r>
              <a:rPr lang="en-US" b="1" spc="-60">
                <a:solidFill>
                  <a:srgbClr val="7FC343"/>
                </a:solidFill>
                <a:cs typeface="Noto Sans"/>
              </a:rPr>
              <a:t>nghiệp - </a:t>
            </a:r>
            <a:r>
              <a:rPr lang="en-US" spc="-60">
                <a:solidFill>
                  <a:srgbClr val="7FC343"/>
                </a:solidFill>
                <a:cs typeface="Noto Sans"/>
              </a:rPr>
              <a:t>Phần 2 </a:t>
            </a:r>
            <a:r>
              <a:rPr lang="en-US" spc="-60">
                <a:cs typeface="Noto Sans"/>
              </a:rPr>
              <a:t>được VCCI xuất bản vào Tháng 9/2021 với sự hỗ trợ kỹ thuật của Deloitte Việt Nam.</a:t>
            </a:r>
          </a:p>
          <a:p>
            <a:pPr marL="12700">
              <a:lnSpc>
                <a:spcPct val="100000"/>
              </a:lnSpc>
              <a:spcBef>
                <a:spcPts val="320"/>
              </a:spcBef>
            </a:pPr>
            <a:endParaRPr lang="en-US" spc="-60">
              <a:cs typeface="Noto Sans"/>
            </a:endParaRPr>
          </a:p>
          <a:p>
            <a:pPr marL="12700">
              <a:lnSpc>
                <a:spcPct val="100000"/>
              </a:lnSpc>
              <a:spcBef>
                <a:spcPts val="320"/>
              </a:spcBef>
            </a:pPr>
            <a:r>
              <a:rPr lang="en-US" spc="-60">
                <a:cs typeface="Noto Sans"/>
              </a:rPr>
              <a:t>Deloitte cũng sẽ cung cấp dịch vụ đào tạo miễn phí về nội dung Quản trị rủi ro – Quản trị khủng hoảng được nêu trong ấn phẩm này</a:t>
            </a:r>
            <a:endParaRPr lang="en-US">
              <a:cs typeface="Noto Sans"/>
            </a:endParaRPr>
          </a:p>
        </p:txBody>
      </p:sp>
    </p:spTree>
    <p:extLst>
      <p:ext uri="{BB962C8B-B14F-4D97-AF65-F5344CB8AC3E}">
        <p14:creationId xmlns:p14="http://schemas.microsoft.com/office/powerpoint/2010/main" val="40434586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940F00F6-A9FC-46D0-B884-51B55F682F69}"/>
              </a:ext>
            </a:extLst>
          </p:cNvPr>
          <p:cNvGrpSpPr>
            <a:grpSpLocks noChangeAspect="1"/>
          </p:cNvGrpSpPr>
          <p:nvPr/>
        </p:nvGrpSpPr>
        <p:grpSpPr>
          <a:xfrm>
            <a:off x="460541" y="267937"/>
            <a:ext cx="1819109" cy="345828"/>
            <a:chOff x="398463" y="404813"/>
            <a:chExt cx="1627187" cy="307976"/>
          </a:xfrm>
          <a:solidFill>
            <a:schemeClr val="tx1"/>
          </a:solidFill>
        </p:grpSpPr>
        <p:sp>
          <p:nvSpPr>
            <p:cNvPr id="6" name="Oval 5">
              <a:extLst>
                <a:ext uri="{FF2B5EF4-FFF2-40B4-BE49-F238E27FC236}">
                  <a16:creationId xmlns:a16="http://schemas.microsoft.com/office/drawing/2014/main" id="{E64D7F50-8E23-402E-98AC-062BE5C006E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6">
              <a:extLst>
                <a:ext uri="{FF2B5EF4-FFF2-40B4-BE49-F238E27FC236}">
                  <a16:creationId xmlns:a16="http://schemas.microsoft.com/office/drawing/2014/main" id="{B828A074-1F41-45A2-80F3-B80F34B915F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7">
              <a:extLst>
                <a:ext uri="{FF2B5EF4-FFF2-40B4-BE49-F238E27FC236}">
                  <a16:creationId xmlns:a16="http://schemas.microsoft.com/office/drawing/2014/main" id="{D12FECAC-C57C-48D4-9697-79359C48E25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Freeform 8">
              <a:extLst>
                <a:ext uri="{FF2B5EF4-FFF2-40B4-BE49-F238E27FC236}">
                  <a16:creationId xmlns:a16="http://schemas.microsoft.com/office/drawing/2014/main" id="{267AEDD9-9E71-4B0D-B498-EA42B071E47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Rectangle 9">
              <a:extLst>
                <a:ext uri="{FF2B5EF4-FFF2-40B4-BE49-F238E27FC236}">
                  <a16:creationId xmlns:a16="http://schemas.microsoft.com/office/drawing/2014/main" id="{AD859060-742A-4F28-8FB1-3F1EA5ADF8F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10">
              <a:extLst>
                <a:ext uri="{FF2B5EF4-FFF2-40B4-BE49-F238E27FC236}">
                  <a16:creationId xmlns:a16="http://schemas.microsoft.com/office/drawing/2014/main" id="{220E638C-2D3D-48D0-8DF0-63F32B89188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1">
              <a:extLst>
                <a:ext uri="{FF2B5EF4-FFF2-40B4-BE49-F238E27FC236}">
                  <a16:creationId xmlns:a16="http://schemas.microsoft.com/office/drawing/2014/main" id="{51DC9FF6-7037-4EC3-A86A-1B7E8FAC670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2">
              <a:extLst>
                <a:ext uri="{FF2B5EF4-FFF2-40B4-BE49-F238E27FC236}">
                  <a16:creationId xmlns:a16="http://schemas.microsoft.com/office/drawing/2014/main" id="{DCE743A2-BDDF-4FB2-89DE-F0BB71E2588E}"/>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3">
              <a:extLst>
                <a:ext uri="{FF2B5EF4-FFF2-40B4-BE49-F238E27FC236}">
                  <a16:creationId xmlns:a16="http://schemas.microsoft.com/office/drawing/2014/main" id="{D67773F0-055F-4157-B176-F88F2208258B}"/>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4">
              <a:extLst>
                <a:ext uri="{FF2B5EF4-FFF2-40B4-BE49-F238E27FC236}">
                  <a16:creationId xmlns:a16="http://schemas.microsoft.com/office/drawing/2014/main" id="{86ECDCE5-7185-4B54-9351-017CA5D1582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8" name="Content Placeholder 1">
            <a:extLst>
              <a:ext uri="{FF2B5EF4-FFF2-40B4-BE49-F238E27FC236}">
                <a16:creationId xmlns:a16="http://schemas.microsoft.com/office/drawing/2014/main" id="{35F840CF-78A2-684B-9D57-6F4BEC6BF3C5}"/>
              </a:ext>
            </a:extLst>
          </p:cNvPr>
          <p:cNvSpPr txBox="1">
            <a:spLocks/>
          </p:cNvSpPr>
          <p:nvPr/>
        </p:nvSpPr>
        <p:spPr>
          <a:xfrm>
            <a:off x="460541" y="1251495"/>
            <a:ext cx="6356819" cy="4776370"/>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t>Tên Deloitte được dùng để chỉ một hoặc nhiều thành viên của Deloitte Touche Tohmatsu Limited (“DTTL” hay “Deloitte Toàn cầu”), và mạng lưới các hãng thành viên trên toàn cầu (gọi chung là Doanh nghiệp Deloitte). DTTL và mỗi thành viên trực thuộc là một pháp nhân riêng biệt và độc lập về mặt pháp lý, không bị ràng buộc lẫn nhau đối với các bên thứ ba. DTTL và mỗi thành viên trực thuộc chỉ chịu trách nhiệm cho hành vi và thiếu sót của mình, chứ không phải chịu trách nhiệm lẫn nhau. DTTL không cung cấp dịch vụ cho các khách hàng. Vui lòng xem tại </a:t>
            </a:r>
            <a:r>
              <a:rPr lang="en-GB" sz="1000" u="sng">
                <a:hlinkClick r:id="rId3"/>
              </a:rPr>
              <a:t>www.deloitte.com/about</a:t>
            </a:r>
            <a:r>
              <a:rPr lang="en-US" sz="1000"/>
              <a:t> </a:t>
            </a:r>
            <a:r>
              <a:rPr lang="en-GB" sz="1000"/>
              <a:t>để biết thêm thông tin chi tiết.</a:t>
            </a:r>
            <a:endParaRPr lang="en-US" sz="1000"/>
          </a:p>
          <a:p>
            <a:r>
              <a:rPr lang="en-GB" sz="1000"/>
              <a:t> </a:t>
            </a:r>
            <a:endParaRPr lang="en-US" sz="1000"/>
          </a:p>
          <a:p>
            <a:r>
              <a:rPr lang="en-GB" sz="1000"/>
              <a:t>Deloitte Châu Á Thái Bình Dương là một hãng thành viên của Deloitte Toàn cầu. Các thành viên và các đơn vị trực thuộc của Deloitte Châu Á Thái Bình Dương cung cấp dịch vụ cho khách hàng tại hơn 100 thành phố trong khu vực, bao gồm Auckland, Bangkok, Bắc Kinh, Hà Nội, Hồng Kông, Jakarta, Kuala Lumpur, Manila, Melbourne, Osaka, Seoul, Thượng Hải, Singapore, Sydney, Đài Bắc và Tokyo. Tại các nước thành viên, các hoạt động kinh doanh được thực hiện độc lập bởi các pháp nhân riêng biệt. </a:t>
            </a:r>
            <a:endParaRPr lang="en-US" sz="1000"/>
          </a:p>
          <a:p>
            <a:r>
              <a:rPr lang="en-GB" sz="1000"/>
              <a:t> </a:t>
            </a:r>
            <a:endParaRPr lang="en-US" sz="1000"/>
          </a:p>
          <a:p>
            <a:r>
              <a:rPr lang="en-GB" sz="1000" b="1"/>
              <a:t>Deloitte Việt Nam</a:t>
            </a:r>
            <a:endParaRPr lang="en-US" sz="1000"/>
          </a:p>
          <a:p>
            <a:r>
              <a:rPr lang="en-GB" sz="1000"/>
              <a:t> </a:t>
            </a:r>
            <a:endParaRPr lang="en-US" sz="1000"/>
          </a:p>
          <a:p>
            <a:r>
              <a:rPr lang="en-GB" sz="1000"/>
              <a:t>Tại Việt Nam, dịch vụ chuyên ngành được cung cấp bởi từng pháp nhân riêng biệt, và chi nhánh của pháp nhân đó, được gọi chung là Deloitte Việt Nam.</a:t>
            </a:r>
            <a:endParaRPr lang="en-US" sz="1000"/>
          </a:p>
          <a:p>
            <a:r>
              <a:rPr lang="en-GB" sz="1000"/>
              <a:t> </a:t>
            </a:r>
            <a:endParaRPr lang="en-US" sz="1000"/>
          </a:p>
          <a:p>
            <a:r>
              <a:rPr lang="en-GB" sz="1000"/>
              <a:t>Tài liệu này chỉ chứa đựng những thông tin chung và nhằm mục đích tham khảo, do vậy, không một hãng Deloitte Touche Tohmatsu Limited, hay bất kỳ một hãng thành viên hay công ty con (sau đây được gọi chung là “Doanh nghiệp Deloitte”) và các nhân viên của họ được xem là, trong phạm vi nội dung của tài liệu này, cung cấp dịch vụ hay đưa ra những ý kiến, tư vấn về chuyên môn cho người đọc. Tài liệu này không cấu thành ý kiến tư vấn đối với người đọc và sẽ không ảnh hưởng đến các ý kiến tư vấn khác do bất kỳ nhân viên của Doanh nghiệp Deloitte cung cấp. Những thông tin thể hiện trong tài liệu này không áp dụng đối với các trường hợp riêng biệt của doanh nghiệp. Trước khi đưa ra bất kỳ một quyết định hay hành động nào có thể ảnh hưởng tới tình hình tài chính hoặc hoạt động kinh doanh, người đọc nên tham khảo ý kiến chuyên gia tư vấn.</a:t>
            </a:r>
            <a:endParaRPr lang="en-US" sz="1000"/>
          </a:p>
          <a:p>
            <a:r>
              <a:rPr lang="en-GB" sz="1000"/>
              <a:t> </a:t>
            </a:r>
            <a:endParaRPr lang="en-US" sz="1000"/>
          </a:p>
          <a:p>
            <a:r>
              <a:rPr lang="en-GB" sz="1000"/>
              <a:t>Không có tuyên bố, bảo đảm hoặc cam kết nào (rõ ràng hay ngụ ý) được đưa ra về tính chính xác hoặc tính đầy đủ của thông tin trong tài liệu này, và không một hãng thành viên nào thuộc Mạng lưới các công ty Deloitte chịu trách nhiệm đối với bất kỳ thiệt hại, tổn thất xảy ra trực tiếp hay gián tiếp do kết quả của việc người đọc sử dụng, công bố, phát tán ra bên ngoài hoặc dựa vào tài liệu này để hành động, không hành động hoặc ra bất kỳ quyết định nào. DTTL và mỗi thành viên là một pháp nhân riêng biệt và độc lập về mặt pháp lý. </a:t>
            </a:r>
            <a:endParaRPr lang="en-US" sz="1000"/>
          </a:p>
        </p:txBody>
      </p:sp>
    </p:spTree>
    <p:extLst>
      <p:ext uri="{BB962C8B-B14F-4D97-AF65-F5344CB8AC3E}">
        <p14:creationId xmlns:p14="http://schemas.microsoft.com/office/powerpoint/2010/main" val="340651430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DA223011-6859-46B5-8FC0-31891E0DA634}"/>
              </a:ext>
            </a:extLst>
          </p:cNvPr>
          <p:cNvSpPr/>
          <p:nvPr/>
        </p:nvSpPr>
        <p:spPr>
          <a:xfrm>
            <a:off x="4449383" y="3588516"/>
            <a:ext cx="3293234" cy="1698073"/>
          </a:xfrm>
          <a:custGeom>
            <a:avLst/>
            <a:gdLst>
              <a:gd name="connsiteX0" fmla="*/ 0 w 3293234"/>
              <a:gd name="connsiteY0" fmla="*/ 0 h 1698073"/>
              <a:gd name="connsiteX1" fmla="*/ 3293234 w 3293234"/>
              <a:gd name="connsiteY1" fmla="*/ 0 h 1698073"/>
              <a:gd name="connsiteX2" fmla="*/ 3293234 w 3293234"/>
              <a:gd name="connsiteY2" fmla="*/ 1698073 h 1698073"/>
              <a:gd name="connsiteX3" fmla="*/ 0 w 3293234"/>
              <a:gd name="connsiteY3" fmla="*/ 1698073 h 1698073"/>
              <a:gd name="connsiteX4" fmla="*/ 0 w 3293234"/>
              <a:gd name="connsiteY4" fmla="*/ 0 h 1698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234" h="1698073">
                <a:moveTo>
                  <a:pt x="0" y="0"/>
                </a:moveTo>
                <a:lnTo>
                  <a:pt x="3293234" y="0"/>
                </a:lnTo>
                <a:lnTo>
                  <a:pt x="3293234" y="1698073"/>
                </a:lnTo>
                <a:lnTo>
                  <a:pt x="0" y="1698073"/>
                </a:lnTo>
                <a:lnTo>
                  <a:pt x="0" y="0"/>
                </a:lnTo>
                <a:close/>
              </a:path>
            </a:pathLst>
          </a:cu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b" anchorCtr="0">
            <a:noAutofit/>
          </a:bodyPr>
          <a:lstStyle/>
          <a:p>
            <a:pPr marL="0" lvl="0" indent="0" algn="ctr" defTabSz="2889250">
              <a:lnSpc>
                <a:spcPct val="90000"/>
              </a:lnSpc>
              <a:spcBef>
                <a:spcPct val="0"/>
              </a:spcBef>
              <a:spcAft>
                <a:spcPct val="35000"/>
              </a:spcAft>
              <a:buNone/>
            </a:pPr>
            <a:endParaRPr lang="en-US" sz="6500" kern="1200"/>
          </a:p>
        </p:txBody>
      </p:sp>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154010"/>
            <a:ext cx="1547608" cy="895983"/>
          </a:xfrm>
          <a:prstGeom prst="rect">
            <a:avLst/>
          </a:prstGeom>
        </p:spPr>
      </p:pic>
      <p:grpSp>
        <p:nvGrpSpPr>
          <p:cNvPr id="20" name="Group 19">
            <a:extLst>
              <a:ext uri="{FF2B5EF4-FFF2-40B4-BE49-F238E27FC236}">
                <a16:creationId xmlns:a16="http://schemas.microsoft.com/office/drawing/2014/main" id="{497B4ACA-1838-40DA-9A0D-1A71C5FC9EE2}"/>
              </a:ext>
            </a:extLst>
          </p:cNvPr>
          <p:cNvGrpSpPr/>
          <p:nvPr/>
        </p:nvGrpSpPr>
        <p:grpSpPr>
          <a:xfrm>
            <a:off x="3510643" y="100478"/>
            <a:ext cx="5170714" cy="5170714"/>
            <a:chOff x="3510643" y="-159515"/>
            <a:chExt cx="5170714" cy="5170714"/>
          </a:xfrm>
        </p:grpSpPr>
        <p:pic>
          <p:nvPicPr>
            <p:cNvPr id="3" name="Picture 2">
              <a:extLst>
                <a:ext uri="{FF2B5EF4-FFF2-40B4-BE49-F238E27FC236}">
                  <a16:creationId xmlns:a16="http://schemas.microsoft.com/office/drawing/2014/main" id="{3F482AA1-1AF6-4F99-89EB-752BF0AB11D3}"/>
                </a:ext>
              </a:extLst>
            </p:cNvPr>
            <p:cNvPicPr>
              <a:picLocks noChangeAspect="1"/>
            </p:cNvPicPr>
            <p:nvPr/>
          </p:nvPicPr>
          <p:blipFill rotWithShape="1">
            <a:blip r:embed="rId4"/>
            <a:srcRect l="1128" r="1128"/>
            <a:stretch/>
          </p:blipFill>
          <p:spPr>
            <a:xfrm>
              <a:off x="3510643" y="-159515"/>
              <a:ext cx="5170714" cy="5170714"/>
            </a:xfrm>
            <a:prstGeom prst="flowChartConnector">
              <a:avLst/>
            </a:prstGeom>
          </p:spPr>
        </p:pic>
        <p:sp>
          <p:nvSpPr>
            <p:cNvPr id="2" name="Oval 1">
              <a:extLst>
                <a:ext uri="{FF2B5EF4-FFF2-40B4-BE49-F238E27FC236}">
                  <a16:creationId xmlns:a16="http://schemas.microsoft.com/office/drawing/2014/main" id="{C11FD399-0C6D-43B1-A467-D8DCF3214FD8}"/>
                </a:ext>
              </a:extLst>
            </p:cNvPr>
            <p:cNvSpPr/>
            <p:nvPr/>
          </p:nvSpPr>
          <p:spPr bwMode="gray">
            <a:xfrm>
              <a:off x="4445310" y="807211"/>
              <a:ext cx="3389660" cy="3389660"/>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2400" b="1">
                  <a:solidFill>
                    <a:schemeClr val="bg1"/>
                  </a:solidFill>
                </a:rPr>
                <a:t>KHỦNG HOẢNG COVID-19</a:t>
              </a:r>
              <a:endParaRPr lang="en-US" sz="2400" b="1" dirty="0">
                <a:solidFill>
                  <a:schemeClr val="bg1"/>
                </a:solidFill>
              </a:endParaRPr>
            </a:p>
          </p:txBody>
        </p:sp>
      </p:grpSp>
      <p:sp>
        <p:nvSpPr>
          <p:cNvPr id="13" name="Title 8">
            <a:extLst>
              <a:ext uri="{FF2B5EF4-FFF2-40B4-BE49-F238E27FC236}">
                <a16:creationId xmlns:a16="http://schemas.microsoft.com/office/drawing/2014/main" id="{18426935-AD3F-4F47-A35E-BA9C2098A7CD}"/>
              </a:ext>
            </a:extLst>
          </p:cNvPr>
          <p:cNvSpPr>
            <a:spLocks noGrp="1"/>
          </p:cNvSpPr>
          <p:nvPr>
            <p:ph type="ctrTitle"/>
          </p:nvPr>
        </p:nvSpPr>
        <p:spPr>
          <a:xfrm>
            <a:off x="1110344" y="5286589"/>
            <a:ext cx="1981199" cy="666092"/>
          </a:xfrm>
        </p:spPr>
        <p:txBody>
          <a:bodyPr/>
          <a:lstStyle/>
          <a:p>
            <a:pPr algn="ctr"/>
            <a:r>
              <a:rPr lang="en-US" b="1">
                <a:latin typeface="+mj-lt"/>
              </a:rPr>
              <a:t>ỨNG PHÓ </a:t>
            </a:r>
            <a:endParaRPr lang="en-US" b="1" dirty="0">
              <a:latin typeface="+mj-lt"/>
            </a:endParaRPr>
          </a:p>
        </p:txBody>
      </p:sp>
      <p:cxnSp>
        <p:nvCxnSpPr>
          <p:cNvPr id="14" name="Straight Arrow Connector 13">
            <a:extLst>
              <a:ext uri="{FF2B5EF4-FFF2-40B4-BE49-F238E27FC236}">
                <a16:creationId xmlns:a16="http://schemas.microsoft.com/office/drawing/2014/main" id="{699DB3F8-C222-4351-A31D-F7852A2711BC}"/>
              </a:ext>
            </a:extLst>
          </p:cNvPr>
          <p:cNvCxnSpPr/>
          <p:nvPr/>
        </p:nvCxnSpPr>
        <p:spPr>
          <a:xfrm>
            <a:off x="3320143" y="5715000"/>
            <a:ext cx="103688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5" name="Title 8">
            <a:extLst>
              <a:ext uri="{FF2B5EF4-FFF2-40B4-BE49-F238E27FC236}">
                <a16:creationId xmlns:a16="http://schemas.microsoft.com/office/drawing/2014/main" id="{79B29EE2-5589-47F2-A810-BAD061D09D95}"/>
              </a:ext>
            </a:extLst>
          </p:cNvPr>
          <p:cNvSpPr txBox="1">
            <a:spLocks/>
          </p:cNvSpPr>
          <p:nvPr/>
        </p:nvSpPr>
        <p:spPr bwMode="gray">
          <a:xfrm>
            <a:off x="4702630" y="5306556"/>
            <a:ext cx="1981199" cy="666092"/>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a:solidFill>
                  <a:schemeClr val="accent2"/>
                </a:solidFill>
                <a:latin typeface="+mj-lt"/>
              </a:rPr>
              <a:t>PHỤC HỒI</a:t>
            </a:r>
            <a:endParaRPr lang="en-US" b="1" dirty="0">
              <a:solidFill>
                <a:schemeClr val="accent2"/>
              </a:solidFill>
              <a:latin typeface="+mj-lt"/>
            </a:endParaRPr>
          </a:p>
        </p:txBody>
      </p:sp>
      <p:cxnSp>
        <p:nvCxnSpPr>
          <p:cNvPr id="16" name="Straight Arrow Connector 15">
            <a:extLst>
              <a:ext uri="{FF2B5EF4-FFF2-40B4-BE49-F238E27FC236}">
                <a16:creationId xmlns:a16="http://schemas.microsoft.com/office/drawing/2014/main" id="{23971025-83EC-460C-83F5-CC454B53F5E1}"/>
              </a:ext>
            </a:extLst>
          </p:cNvPr>
          <p:cNvCxnSpPr/>
          <p:nvPr/>
        </p:nvCxnSpPr>
        <p:spPr>
          <a:xfrm>
            <a:off x="7181827" y="5715000"/>
            <a:ext cx="1036887"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9" name="Title 8">
            <a:extLst>
              <a:ext uri="{FF2B5EF4-FFF2-40B4-BE49-F238E27FC236}">
                <a16:creationId xmlns:a16="http://schemas.microsoft.com/office/drawing/2014/main" id="{B4BC50EE-7680-4711-866A-51C8424289FF}"/>
              </a:ext>
            </a:extLst>
          </p:cNvPr>
          <p:cNvSpPr txBox="1">
            <a:spLocks/>
          </p:cNvSpPr>
          <p:nvPr/>
        </p:nvSpPr>
        <p:spPr bwMode="gray">
          <a:xfrm>
            <a:off x="8451473" y="5281175"/>
            <a:ext cx="2292727" cy="666092"/>
          </a:xfrm>
          <a:prstGeom prst="rect">
            <a:avLst/>
          </a:prstGeom>
        </p:spPr>
        <p:txBody>
          <a:bodyPr vert="horz" lIns="0" tIns="0" rIns="0" bIns="0" rtlCol="0" anchor="b" anchorCtr="0">
            <a:noAutofit/>
          </a:bodyPr>
          <a:lstStyle>
            <a:lvl1pPr algn="l" defTabSz="685800" rtl="0" eaLnBrk="1" latinLnBrk="0" hangingPunct="1">
              <a:lnSpc>
                <a:spcPts val="3200"/>
              </a:lnSpc>
              <a:spcBef>
                <a:spcPct val="0"/>
              </a:spcBef>
              <a:buNone/>
              <a:defRPr sz="3200" b="0" kern="120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pPr algn="ctr"/>
            <a:r>
              <a:rPr lang="en-US" b="1">
                <a:solidFill>
                  <a:schemeClr val="accent3"/>
                </a:solidFill>
                <a:latin typeface="+mj-lt"/>
              </a:rPr>
              <a:t>PHÁT TRIỂN</a:t>
            </a:r>
            <a:endParaRPr lang="en-US" b="1" dirty="0">
              <a:solidFill>
                <a:schemeClr val="accent3"/>
              </a:solidFill>
              <a:latin typeface="+mj-lt"/>
            </a:endParaRPr>
          </a:p>
        </p:txBody>
      </p:sp>
    </p:spTree>
    <p:extLst>
      <p:ext uri="{BB962C8B-B14F-4D97-AF65-F5344CB8AC3E}">
        <p14:creationId xmlns:p14="http://schemas.microsoft.com/office/powerpoint/2010/main" val="63795744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E899DD6-26C3-4604-A7E4-9C02800DADFD}"/>
              </a:ext>
            </a:extLst>
          </p:cNvPr>
          <p:cNvSpPr txBox="1"/>
          <p:nvPr/>
        </p:nvSpPr>
        <p:spPr>
          <a:xfrm>
            <a:off x="83738" y="4257684"/>
            <a:ext cx="3626080" cy="1631216"/>
          </a:xfrm>
          <a:prstGeom prst="rect">
            <a:avLst/>
          </a:prstGeom>
          <a:noFill/>
        </p:spPr>
        <p:txBody>
          <a:bodyPr wrap="square" rtlCol="0">
            <a:spAutoFit/>
          </a:bodyPr>
          <a:lstStyle/>
          <a:p>
            <a:pPr algn="r"/>
            <a:r>
              <a:rPr lang="en-US" sz="2800" spc="333" dirty="0">
                <a:solidFill>
                  <a:schemeClr val="bg2">
                    <a:lumMod val="90000"/>
                  </a:schemeClr>
                </a:solidFill>
              </a:rPr>
              <a:t>COVID-19</a:t>
            </a:r>
          </a:p>
          <a:p>
            <a:pPr algn="r"/>
            <a:r>
              <a:rPr lang="en-US" sz="3600"/>
              <a:t>20 </a:t>
            </a:r>
            <a:r>
              <a:rPr lang="en-US" sz="3600" dirty="0"/>
              <a:t>THÁNG </a:t>
            </a:r>
          </a:p>
          <a:p>
            <a:pPr algn="r"/>
            <a:r>
              <a:rPr lang="en-US" sz="3600" dirty="0"/>
              <a:t>ẢNH HƯỞNG</a:t>
            </a:r>
          </a:p>
        </p:txBody>
      </p:sp>
      <p:cxnSp>
        <p:nvCxnSpPr>
          <p:cNvPr id="7" name="Straight Connector 6">
            <a:extLst>
              <a:ext uri="{FF2B5EF4-FFF2-40B4-BE49-F238E27FC236}">
                <a16:creationId xmlns:a16="http://schemas.microsoft.com/office/drawing/2014/main" id="{47B8F872-5067-4DCF-9DD2-73BB28A791C2}"/>
              </a:ext>
            </a:extLst>
          </p:cNvPr>
          <p:cNvCxnSpPr>
            <a:cxnSpLocks/>
          </p:cNvCxnSpPr>
          <p:nvPr/>
        </p:nvCxnSpPr>
        <p:spPr>
          <a:xfrm>
            <a:off x="4270602" y="3989614"/>
            <a:ext cx="0" cy="1828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96AFA63-1357-41A2-B07A-7BB9C1599014}"/>
              </a:ext>
            </a:extLst>
          </p:cNvPr>
          <p:cNvSpPr txBox="1"/>
          <p:nvPr/>
        </p:nvSpPr>
        <p:spPr>
          <a:xfrm>
            <a:off x="6885081" y="4750235"/>
            <a:ext cx="1993900" cy="584775"/>
          </a:xfrm>
          <a:prstGeom prst="rect">
            <a:avLst/>
          </a:prstGeom>
          <a:noFill/>
        </p:spPr>
        <p:txBody>
          <a:bodyPr wrap="square" rtlCol="0">
            <a:spAutoFit/>
          </a:bodyPr>
          <a:lstStyle/>
          <a:p>
            <a:pPr algn="ctr"/>
            <a:r>
              <a:rPr lang="en-US" sz="3200" dirty="0" err="1">
                <a:solidFill>
                  <a:schemeClr val="accent1">
                    <a:lumMod val="75000"/>
                  </a:schemeClr>
                </a:solidFill>
              </a:rPr>
              <a:t>Đ</a:t>
            </a:r>
            <a:r>
              <a:rPr lang="en-US" sz="3200" dirty="0" err="1"/>
              <a:t>ẩy</a:t>
            </a:r>
            <a:endParaRPr lang="uk-UA" sz="3200" dirty="0"/>
          </a:p>
        </p:txBody>
      </p:sp>
      <p:sp>
        <p:nvSpPr>
          <p:cNvPr id="17" name="TextBox 16">
            <a:extLst>
              <a:ext uri="{FF2B5EF4-FFF2-40B4-BE49-F238E27FC236}">
                <a16:creationId xmlns:a16="http://schemas.microsoft.com/office/drawing/2014/main" id="{9B49FDC4-D949-4199-8E32-2E075B48C764}"/>
              </a:ext>
            </a:extLst>
          </p:cNvPr>
          <p:cNvSpPr txBox="1"/>
          <p:nvPr/>
        </p:nvSpPr>
        <p:spPr>
          <a:xfrm>
            <a:off x="4172496" y="4780904"/>
            <a:ext cx="1993900" cy="584775"/>
          </a:xfrm>
          <a:prstGeom prst="rect">
            <a:avLst/>
          </a:prstGeom>
          <a:noFill/>
        </p:spPr>
        <p:txBody>
          <a:bodyPr wrap="square" rtlCol="0">
            <a:spAutoFit/>
          </a:bodyPr>
          <a:lstStyle/>
          <a:p>
            <a:pPr algn="ctr"/>
            <a:r>
              <a:rPr lang="en-US" sz="3200" dirty="0" err="1">
                <a:solidFill>
                  <a:schemeClr val="accent1">
                    <a:lumMod val="75000"/>
                  </a:schemeClr>
                </a:solidFill>
              </a:rPr>
              <a:t>Đ</a:t>
            </a:r>
            <a:r>
              <a:rPr lang="en-US" sz="3200" dirty="0" err="1"/>
              <a:t>ứt</a:t>
            </a:r>
            <a:endParaRPr lang="uk-UA" sz="2800" dirty="0"/>
          </a:p>
        </p:txBody>
      </p:sp>
      <p:sp>
        <p:nvSpPr>
          <p:cNvPr id="20" name="TextBox 19">
            <a:extLst>
              <a:ext uri="{FF2B5EF4-FFF2-40B4-BE49-F238E27FC236}">
                <a16:creationId xmlns:a16="http://schemas.microsoft.com/office/drawing/2014/main" id="{74DAE530-89B4-4413-85DB-9D4B93FC15E9}"/>
              </a:ext>
            </a:extLst>
          </p:cNvPr>
          <p:cNvSpPr txBox="1"/>
          <p:nvPr/>
        </p:nvSpPr>
        <p:spPr>
          <a:xfrm>
            <a:off x="9224291" y="4688680"/>
            <a:ext cx="1993900" cy="646331"/>
          </a:xfrm>
          <a:prstGeom prst="rect">
            <a:avLst/>
          </a:prstGeom>
          <a:noFill/>
        </p:spPr>
        <p:txBody>
          <a:bodyPr wrap="square" rtlCol="0">
            <a:spAutoFit/>
          </a:bodyPr>
          <a:lstStyle/>
          <a:p>
            <a:pPr algn="ctr"/>
            <a:r>
              <a:rPr lang="en-US" sz="3600" dirty="0">
                <a:solidFill>
                  <a:schemeClr val="accent1">
                    <a:lumMod val="75000"/>
                  </a:schemeClr>
                </a:solidFill>
              </a:rPr>
              <a:t>Đ</a:t>
            </a:r>
            <a:r>
              <a:rPr lang="en-US" sz="2800" dirty="0"/>
              <a:t>ồng</a:t>
            </a:r>
            <a:endParaRPr lang="uk-UA" sz="2800" dirty="0"/>
          </a:p>
        </p:txBody>
      </p:sp>
      <p:sp>
        <p:nvSpPr>
          <p:cNvPr id="26" name="Rectangle 25">
            <a:extLst>
              <a:ext uri="{FF2B5EF4-FFF2-40B4-BE49-F238E27FC236}">
                <a16:creationId xmlns:a16="http://schemas.microsoft.com/office/drawing/2014/main" id="{2CD56E22-3BEE-4437-B547-84D8BE924728}"/>
              </a:ext>
            </a:extLst>
          </p:cNvPr>
          <p:cNvSpPr/>
          <p:nvPr/>
        </p:nvSpPr>
        <p:spPr>
          <a:xfrm>
            <a:off x="6634788" y="5335011"/>
            <a:ext cx="2274924" cy="584775"/>
          </a:xfrm>
          <a:prstGeom prst="rect">
            <a:avLst/>
          </a:prstGeom>
        </p:spPr>
        <p:txBody>
          <a:bodyPr wrap="square">
            <a:spAutoFit/>
          </a:bodyPr>
          <a:lstStyle/>
          <a:p>
            <a:pPr algn="ctr"/>
            <a:r>
              <a:rPr lang="en-US" sz="1600" i="1">
                <a:solidFill>
                  <a:schemeClr val="tx2"/>
                </a:solidFill>
                <a:ea typeface="Source Sans Pro" panose="020B0503030403020204" pitchFamily="34" charset="0"/>
              </a:rPr>
              <a:t>Phương thức kinh doanh</a:t>
            </a:r>
            <a:endParaRPr lang="en-US" sz="1600" i="1" dirty="0">
              <a:solidFill>
                <a:schemeClr val="tx2"/>
              </a:solidFill>
              <a:ea typeface="Source Sans Pro" panose="020B0503030403020204" pitchFamily="34" charset="0"/>
            </a:endParaRPr>
          </a:p>
          <a:p>
            <a:pPr algn="ctr"/>
            <a:r>
              <a:rPr lang="en-US" sz="1600" i="1">
                <a:solidFill>
                  <a:schemeClr val="tx2"/>
                </a:solidFill>
                <a:ea typeface="Source Sans Pro" panose="020B0503030403020204" pitchFamily="34" charset="0"/>
              </a:rPr>
              <a:t>Tăng tốc chuyển </a:t>
            </a:r>
            <a:r>
              <a:rPr lang="en-US" sz="1600" i="1" dirty="0" err="1">
                <a:solidFill>
                  <a:schemeClr val="tx2"/>
                </a:solidFill>
                <a:ea typeface="Source Sans Pro" panose="020B0503030403020204" pitchFamily="34" charset="0"/>
              </a:rPr>
              <a:t>đổi</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số</a:t>
            </a:r>
            <a:endParaRPr lang="en-US" sz="1600" i="1" dirty="0">
              <a:solidFill>
                <a:schemeClr val="tx2"/>
              </a:solidFill>
              <a:ea typeface="Source Sans Pro" panose="020B0503030403020204" pitchFamily="34" charset="0"/>
            </a:endParaRPr>
          </a:p>
        </p:txBody>
      </p:sp>
      <p:sp>
        <p:nvSpPr>
          <p:cNvPr id="27" name="Rectangle 26">
            <a:extLst>
              <a:ext uri="{FF2B5EF4-FFF2-40B4-BE49-F238E27FC236}">
                <a16:creationId xmlns:a16="http://schemas.microsoft.com/office/drawing/2014/main" id="{CC96AF00-1E7C-44E9-8F15-B71ECADFB89D}"/>
              </a:ext>
            </a:extLst>
          </p:cNvPr>
          <p:cNvSpPr/>
          <p:nvPr/>
        </p:nvSpPr>
        <p:spPr>
          <a:xfrm>
            <a:off x="4255582" y="5332142"/>
            <a:ext cx="2049453" cy="830997"/>
          </a:xfrm>
          <a:prstGeom prst="rect">
            <a:avLst/>
          </a:prstGeom>
        </p:spPr>
        <p:txBody>
          <a:bodyPr wrap="square">
            <a:spAutoFit/>
          </a:bodyPr>
          <a:lstStyle/>
          <a:p>
            <a:pPr algn="ctr"/>
            <a:r>
              <a:rPr lang="en-US" sz="1600" i="1" dirty="0" err="1">
                <a:solidFill>
                  <a:schemeClr val="tx2"/>
                </a:solidFill>
                <a:ea typeface="Source Sans Pro" panose="020B0503030403020204" pitchFamily="34" charset="0"/>
              </a:rPr>
              <a:t>Chuỗi</a:t>
            </a:r>
            <a:r>
              <a:rPr lang="en-US" sz="1600" i="1" dirty="0">
                <a:solidFill>
                  <a:schemeClr val="tx2"/>
                </a:solidFill>
                <a:ea typeface="Source Sans Pro" panose="020B0503030403020204" pitchFamily="34" charset="0"/>
              </a:rPr>
              <a:t> </a:t>
            </a:r>
            <a:r>
              <a:rPr lang="en-US" sz="1600" i="1" err="1">
                <a:solidFill>
                  <a:schemeClr val="tx2"/>
                </a:solidFill>
                <a:ea typeface="Source Sans Pro" panose="020B0503030403020204" pitchFamily="34" charset="0"/>
              </a:rPr>
              <a:t>cung</a:t>
            </a:r>
            <a:r>
              <a:rPr lang="en-US" sz="1600" i="1">
                <a:solidFill>
                  <a:schemeClr val="tx2"/>
                </a:solidFill>
                <a:ea typeface="Source Sans Pro" panose="020B0503030403020204" pitchFamily="34" charset="0"/>
              </a:rPr>
              <a:t> ứng</a:t>
            </a:r>
          </a:p>
          <a:p>
            <a:pPr algn="ctr"/>
            <a:r>
              <a:rPr lang="en-US" sz="1600" i="1">
                <a:solidFill>
                  <a:schemeClr val="tx2"/>
                </a:solidFill>
                <a:ea typeface="Source Sans Pro" panose="020B0503030403020204" pitchFamily="34" charset="0"/>
              </a:rPr>
              <a:t>Cung – Cầu</a:t>
            </a:r>
            <a:endParaRPr lang="en-US" sz="1600" i="1" dirty="0">
              <a:solidFill>
                <a:schemeClr val="tx2"/>
              </a:solidFill>
              <a:ea typeface="Source Sans Pro" panose="020B0503030403020204" pitchFamily="34" charset="0"/>
            </a:endParaRPr>
          </a:p>
          <a:p>
            <a:pPr algn="ctr"/>
            <a:r>
              <a:rPr lang="en-US" sz="1600" i="1" dirty="0" err="1">
                <a:solidFill>
                  <a:schemeClr val="tx2"/>
                </a:solidFill>
                <a:ea typeface="Source Sans Pro" panose="020B0503030403020204" pitchFamily="34" charset="0"/>
              </a:rPr>
              <a:t>Hoạt</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động</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kinh</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doanh</a:t>
            </a:r>
            <a:endParaRPr lang="en-US" sz="1600" dirty="0">
              <a:solidFill>
                <a:schemeClr val="tx2"/>
              </a:solidFill>
              <a:ea typeface="Source Sans Pro" panose="020B0503030403020204" pitchFamily="34" charset="0"/>
            </a:endParaRPr>
          </a:p>
        </p:txBody>
      </p:sp>
      <p:sp>
        <p:nvSpPr>
          <p:cNvPr id="28" name="Rectangle 27">
            <a:extLst>
              <a:ext uri="{FF2B5EF4-FFF2-40B4-BE49-F238E27FC236}">
                <a16:creationId xmlns:a16="http://schemas.microsoft.com/office/drawing/2014/main" id="{93DAAD41-A4E0-47D0-BCA4-AE503E7A6228}"/>
              </a:ext>
            </a:extLst>
          </p:cNvPr>
          <p:cNvSpPr/>
          <p:nvPr/>
        </p:nvSpPr>
        <p:spPr>
          <a:xfrm>
            <a:off x="8953233" y="5332141"/>
            <a:ext cx="2699987" cy="830997"/>
          </a:xfrm>
          <a:prstGeom prst="rect">
            <a:avLst/>
          </a:prstGeom>
        </p:spPr>
        <p:txBody>
          <a:bodyPr wrap="square">
            <a:spAutoFit/>
          </a:bodyPr>
          <a:lstStyle/>
          <a:p>
            <a:pPr algn="ctr"/>
            <a:r>
              <a:rPr lang="en-US" sz="1600" i="1" dirty="0" err="1">
                <a:solidFill>
                  <a:schemeClr val="tx2"/>
                </a:solidFill>
                <a:ea typeface="Source Sans Pro" panose="020B0503030403020204" pitchFamily="34" charset="0"/>
              </a:rPr>
              <a:t>Nhân</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viên</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và</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Lãnh</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đạo</a:t>
            </a:r>
            <a:endParaRPr lang="en-US" sz="1600" i="1" dirty="0">
              <a:solidFill>
                <a:schemeClr val="tx2"/>
              </a:solidFill>
              <a:ea typeface="Source Sans Pro" panose="020B0503030403020204" pitchFamily="34" charset="0"/>
            </a:endParaRPr>
          </a:p>
          <a:p>
            <a:pPr algn="ctr"/>
            <a:r>
              <a:rPr lang="en-US" sz="1600" i="1">
                <a:solidFill>
                  <a:schemeClr val="tx2"/>
                </a:solidFill>
                <a:ea typeface="Source Sans Pro" panose="020B0503030403020204" pitchFamily="34" charset="0"/>
              </a:rPr>
              <a:t>Doanh nghiệp </a:t>
            </a:r>
            <a:r>
              <a:rPr lang="en-US" sz="1600" i="1" dirty="0" err="1">
                <a:solidFill>
                  <a:schemeClr val="tx2"/>
                </a:solidFill>
                <a:ea typeface="Source Sans Pro" panose="020B0503030403020204" pitchFamily="34" charset="0"/>
              </a:rPr>
              <a:t>và</a:t>
            </a:r>
            <a:r>
              <a:rPr lang="en-US" sz="1600" i="1" dirty="0">
                <a:solidFill>
                  <a:schemeClr val="tx2"/>
                </a:solidFill>
                <a:ea typeface="Source Sans Pro" panose="020B0503030403020204" pitchFamily="34" charset="0"/>
              </a:rPr>
              <a:t> Chính </a:t>
            </a:r>
            <a:r>
              <a:rPr lang="en-US" sz="1600" i="1" dirty="0" err="1">
                <a:solidFill>
                  <a:schemeClr val="tx2"/>
                </a:solidFill>
                <a:ea typeface="Source Sans Pro" panose="020B0503030403020204" pitchFamily="34" charset="0"/>
              </a:rPr>
              <a:t>phủ</a:t>
            </a:r>
            <a:endParaRPr lang="en-US" sz="1600" i="1" dirty="0">
              <a:solidFill>
                <a:schemeClr val="tx2"/>
              </a:solidFill>
              <a:ea typeface="Source Sans Pro" panose="020B0503030403020204" pitchFamily="34" charset="0"/>
            </a:endParaRPr>
          </a:p>
          <a:p>
            <a:pPr algn="ctr"/>
            <a:r>
              <a:rPr lang="en-US" sz="1600" i="1">
                <a:solidFill>
                  <a:schemeClr val="tx2"/>
                </a:solidFill>
                <a:ea typeface="Source Sans Pro" panose="020B0503030403020204" pitchFamily="34" charset="0"/>
              </a:rPr>
              <a:t>Doanh nghiệp với </a:t>
            </a:r>
            <a:r>
              <a:rPr lang="en-US" sz="1600" i="1" dirty="0" err="1">
                <a:solidFill>
                  <a:schemeClr val="tx2"/>
                </a:solidFill>
                <a:ea typeface="Source Sans Pro" panose="020B0503030403020204" pitchFamily="34" charset="0"/>
              </a:rPr>
              <a:t>Cộng</a:t>
            </a:r>
            <a:r>
              <a:rPr lang="en-US" sz="1600" i="1" dirty="0">
                <a:solidFill>
                  <a:schemeClr val="tx2"/>
                </a:solidFill>
                <a:ea typeface="Source Sans Pro" panose="020B0503030403020204" pitchFamily="34" charset="0"/>
              </a:rPr>
              <a:t> </a:t>
            </a:r>
            <a:r>
              <a:rPr lang="en-US" sz="1600" i="1" dirty="0" err="1">
                <a:solidFill>
                  <a:schemeClr val="tx2"/>
                </a:solidFill>
                <a:ea typeface="Source Sans Pro" panose="020B0503030403020204" pitchFamily="34" charset="0"/>
              </a:rPr>
              <a:t>đồng</a:t>
            </a:r>
            <a:endParaRPr lang="en-US" sz="1600" dirty="0">
              <a:solidFill>
                <a:schemeClr val="tx2"/>
              </a:solidFill>
              <a:ea typeface="Source Sans Pro" panose="020B0503030403020204" pitchFamily="34" charset="0"/>
            </a:endParaRPr>
          </a:p>
        </p:txBody>
      </p:sp>
      <p:pic>
        <p:nvPicPr>
          <p:cNvPr id="9" name="Picture 8" descr="A picture containing light&#10;&#10;Description automatically generated">
            <a:extLst>
              <a:ext uri="{FF2B5EF4-FFF2-40B4-BE49-F238E27FC236}">
                <a16:creationId xmlns:a16="http://schemas.microsoft.com/office/drawing/2014/main" id="{2F170D68-FFD8-4749-BCD9-DE7961E403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2400" y="3649925"/>
            <a:ext cx="1205802" cy="1205802"/>
          </a:xfrm>
          <a:prstGeom prst="rect">
            <a:avLst/>
          </a:prstGeom>
        </p:spPr>
      </p:pic>
      <p:pic>
        <p:nvPicPr>
          <p:cNvPr id="15" name="Picture 14" descr="A speedometer on a car&#10;&#10;Description automatically generated with medium confidence">
            <a:extLst>
              <a:ext uri="{FF2B5EF4-FFF2-40B4-BE49-F238E27FC236}">
                <a16:creationId xmlns:a16="http://schemas.microsoft.com/office/drawing/2014/main" id="{82560D00-A09F-4120-AC04-1A206C520D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7644" y="3662301"/>
            <a:ext cx="1193426" cy="1193426"/>
          </a:xfrm>
          <a:prstGeom prst="rect">
            <a:avLst/>
          </a:prstGeom>
        </p:spPr>
      </p:pic>
      <p:pic>
        <p:nvPicPr>
          <p:cNvPr id="19" name="Picture 18" descr="A picture containing vector graphics&#10;&#10;Description automatically generated">
            <a:extLst>
              <a:ext uri="{FF2B5EF4-FFF2-40B4-BE49-F238E27FC236}">
                <a16:creationId xmlns:a16="http://schemas.microsoft.com/office/drawing/2014/main" id="{DC49211A-BBD5-4BE3-94DC-22F5664553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67079" y="3654783"/>
            <a:ext cx="1205802" cy="1205802"/>
          </a:xfrm>
          <a:prstGeom prst="rect">
            <a:avLst/>
          </a:prstGeom>
        </p:spPr>
      </p:pic>
      <p:pic>
        <p:nvPicPr>
          <p:cNvPr id="8" name="Picture Placeholder 7" descr="A picture containing text&#10;&#10;Description automatically generated">
            <a:extLst>
              <a:ext uri="{FF2B5EF4-FFF2-40B4-BE49-F238E27FC236}">
                <a16:creationId xmlns:a16="http://schemas.microsoft.com/office/drawing/2014/main" id="{11059BFB-95E0-4CD1-9AE6-73DAFFBD20F0}"/>
              </a:ext>
            </a:extLst>
          </p:cNvPr>
          <p:cNvPicPr>
            <a:picLocks noGrp="1" noChangeAspect="1"/>
          </p:cNvPicPr>
          <p:nvPr>
            <p:ph type="pic" sz="quarter" idx="11"/>
          </p:nvPr>
        </p:nvPicPr>
        <p:blipFill rotWithShape="1">
          <a:blip r:embed="rId6"/>
          <a:srcRect l="3752" t="2860" r="3752"/>
          <a:stretch/>
        </p:blipFill>
        <p:spPr>
          <a:xfrm>
            <a:off x="0" y="0"/>
            <a:ext cx="12192000" cy="3327401"/>
          </a:xfrm>
        </p:spPr>
      </p:pic>
      <p:sp>
        <p:nvSpPr>
          <p:cNvPr id="18" name="Rectangle 17">
            <a:extLst>
              <a:ext uri="{FF2B5EF4-FFF2-40B4-BE49-F238E27FC236}">
                <a16:creationId xmlns:a16="http://schemas.microsoft.com/office/drawing/2014/main" id="{B1089710-6461-4FCD-A5A1-9EDBC115516B}"/>
              </a:ext>
            </a:extLst>
          </p:cNvPr>
          <p:cNvSpPr/>
          <p:nvPr/>
        </p:nvSpPr>
        <p:spPr>
          <a:xfrm>
            <a:off x="368936" y="6456323"/>
            <a:ext cx="1791196" cy="276999"/>
          </a:xfrm>
          <a:prstGeom prst="rect">
            <a:avLst/>
          </a:prstGeom>
        </p:spPr>
        <p:txBody>
          <a:bodyPr wrap="non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spTree>
    <p:extLst>
      <p:ext uri="{BB962C8B-B14F-4D97-AF65-F5344CB8AC3E}">
        <p14:creationId xmlns:p14="http://schemas.microsoft.com/office/powerpoint/2010/main" val="39620004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7" grpId="0"/>
      <p:bldP spid="20" grpId="0"/>
      <p:bldP spid="26" grpId="0"/>
      <p:bldP spid="27" grpId="0"/>
      <p:bldP spid="2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26570" y="1213782"/>
            <a:ext cx="11176175" cy="485096"/>
          </a:xfrm>
        </p:spPr>
        <p:txBody>
          <a:bodyPr/>
          <a:lstStyle/>
          <a:p>
            <a:r>
              <a:rPr lang="en-US" dirty="0">
                <a:solidFill>
                  <a:srgbClr val="00B050"/>
                </a:solidFill>
                <a:latin typeface="+mj-lt"/>
                <a:cs typeface="Calibri Light" panose="020F0302020204030204" pitchFamily="34" charset="0"/>
              </a:rPr>
              <a:t>    </a:t>
            </a:r>
            <a:r>
              <a:rPr lang="en-US" sz="2400" b="1" dirty="0" err="1">
                <a:solidFill>
                  <a:schemeClr val="accent1"/>
                </a:solidFill>
                <a:latin typeface="+mj-lt"/>
                <a:cs typeface="Calibri Light" panose="020F0302020204030204" pitchFamily="34" charset="0"/>
              </a:rPr>
              <a:t>Doanh</a:t>
            </a:r>
            <a:r>
              <a:rPr lang="en-US" sz="2400" b="1" dirty="0">
                <a:solidFill>
                  <a:schemeClr val="accent1"/>
                </a:solidFill>
                <a:latin typeface="+mj-lt"/>
                <a:cs typeface="Calibri Light" panose="020F0302020204030204" pitchFamily="34" charset="0"/>
              </a:rPr>
              <a:t> </a:t>
            </a:r>
            <a:r>
              <a:rPr lang="en-US" sz="2400" b="1" dirty="0" err="1">
                <a:solidFill>
                  <a:schemeClr val="accent1"/>
                </a:solidFill>
                <a:latin typeface="+mj-lt"/>
                <a:cs typeface="Calibri Light" panose="020F0302020204030204" pitchFamily="34" charset="0"/>
              </a:rPr>
              <a:t>nghiệp</a:t>
            </a:r>
            <a:r>
              <a:rPr lang="en-US" sz="2400" b="1" dirty="0">
                <a:solidFill>
                  <a:schemeClr val="accent1"/>
                </a:solidFill>
                <a:latin typeface="+mj-lt"/>
                <a:cs typeface="Calibri Light" panose="020F0302020204030204" pitchFamily="34" charset="0"/>
              </a:rPr>
              <a:t> </a:t>
            </a:r>
            <a:r>
              <a:rPr lang="vi-VN" sz="2400" b="1" dirty="0">
                <a:solidFill>
                  <a:schemeClr val="accent1"/>
                </a:solidFill>
                <a:latin typeface="+mj-lt"/>
                <a:cs typeface="Calibri Light" panose="020F0302020204030204" pitchFamily="34" charset="0"/>
              </a:rPr>
              <a:t>cần có cái nhìn toàn diện hơn về Quản trị rủi ro </a:t>
            </a:r>
            <a:r>
              <a:rPr lang="vi-VN" sz="2400" b="1">
                <a:solidFill>
                  <a:schemeClr val="accent1"/>
                </a:solidFill>
                <a:latin typeface="+mj-lt"/>
                <a:cs typeface="Calibri Light" panose="020F0302020204030204" pitchFamily="34" charset="0"/>
              </a:rPr>
              <a:t>và </a:t>
            </a:r>
            <a:r>
              <a:rPr lang="en-US" sz="2400" b="1">
                <a:solidFill>
                  <a:schemeClr val="accent1"/>
                </a:solidFill>
                <a:latin typeface="+mj-lt"/>
                <a:cs typeface="Calibri Light" panose="020F0302020204030204" pitchFamily="34" charset="0"/>
              </a:rPr>
              <a:t>Quản trị khủng hoảng</a:t>
            </a:r>
            <a:endParaRPr lang="en-US" sz="2400" b="1" dirty="0">
              <a:solidFill>
                <a:schemeClr val="accent1"/>
              </a:solidFill>
              <a:latin typeface="+mj-lt"/>
              <a:cs typeface="Calibri Light" panose="020F0302020204030204" pitchFamily="34" charset="0"/>
            </a:endParaRPr>
          </a:p>
          <a:p>
            <a:pPr marL="233363"/>
            <a:r>
              <a:rPr lang="en-US" sz="1600" dirty="0">
                <a:solidFill>
                  <a:schemeClr val="tx1"/>
                </a:solidFill>
                <a:latin typeface="+mj-lt"/>
                <a:cs typeface="Calibri Light" panose="020F0302020204030204" pitchFamily="34" charset="0"/>
              </a:rPr>
              <a:t>Trong </a:t>
            </a:r>
            <a:r>
              <a:rPr lang="en-US" sz="1600" dirty="0" err="1">
                <a:solidFill>
                  <a:schemeClr val="tx1"/>
                </a:solidFill>
                <a:latin typeface="+mj-lt"/>
                <a:cs typeface="Calibri Light" panose="020F0302020204030204" pitchFamily="34" charset="0"/>
              </a:rPr>
              <a:t>khảo</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sát</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gầ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đây</a:t>
            </a:r>
            <a:r>
              <a:rPr lang="en-US" sz="1600" dirty="0">
                <a:solidFill>
                  <a:schemeClr val="tx1"/>
                </a:solidFill>
                <a:latin typeface="+mj-lt"/>
                <a:cs typeface="Calibri Light" panose="020F0302020204030204" pitchFamily="34" charset="0"/>
              </a:rPr>
              <a:t> đ</a:t>
            </a:r>
            <a:r>
              <a:rPr lang="vi-VN" sz="1600" dirty="0">
                <a:solidFill>
                  <a:schemeClr val="tx1"/>
                </a:solidFill>
                <a:latin typeface="+mj-lt"/>
                <a:cs typeface="Calibri Light" panose="020F0302020204030204" pitchFamily="34" charset="0"/>
              </a:rPr>
              <a:t>ư</a:t>
            </a:r>
            <a:r>
              <a:rPr lang="en-US" sz="1600" dirty="0" err="1">
                <a:solidFill>
                  <a:schemeClr val="tx1"/>
                </a:solidFill>
                <a:latin typeface="+mj-lt"/>
                <a:cs typeface="Calibri Light" panose="020F0302020204030204" pitchFamily="34" charset="0"/>
              </a:rPr>
              <a:t>ợc</a:t>
            </a:r>
            <a:r>
              <a:rPr lang="en-US" sz="1600" dirty="0">
                <a:solidFill>
                  <a:schemeClr val="tx1"/>
                </a:solidFill>
                <a:latin typeface="+mj-lt"/>
                <a:cs typeface="Calibri Light" panose="020F0302020204030204" pitchFamily="34" charset="0"/>
              </a:rPr>
              <a:t> Deloitte thực </a:t>
            </a:r>
            <a:r>
              <a:rPr lang="en-US" sz="1600" dirty="0" err="1">
                <a:solidFill>
                  <a:schemeClr val="tx1"/>
                </a:solidFill>
                <a:latin typeface="+mj-lt"/>
                <a:cs typeface="Calibri Light" panose="020F0302020204030204" pitchFamily="34" charset="0"/>
              </a:rPr>
              <a:t>hiệ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nhậ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thấy</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ác</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ông</a:t>
            </a:r>
            <a:r>
              <a:rPr lang="en-US" sz="1600" dirty="0">
                <a:solidFill>
                  <a:schemeClr val="tx1"/>
                </a:solidFill>
                <a:latin typeface="+mj-lt"/>
                <a:cs typeface="Calibri Light" panose="020F0302020204030204" pitchFamily="34" charset="0"/>
              </a:rPr>
              <a:t> ty </a:t>
            </a:r>
            <a:r>
              <a:rPr lang="en-US" sz="1600" dirty="0" err="1">
                <a:solidFill>
                  <a:schemeClr val="tx1"/>
                </a:solidFill>
                <a:latin typeface="+mj-lt"/>
                <a:cs typeface="Calibri Light" panose="020F0302020204030204" pitchFamily="34" charset="0"/>
              </a:rPr>
              <a:t>đang</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đánh</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giá</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ác</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rủi</a:t>
            </a:r>
            <a:r>
              <a:rPr lang="en-US" sz="1600" dirty="0">
                <a:solidFill>
                  <a:schemeClr val="tx1"/>
                </a:solidFill>
                <a:latin typeface="+mj-lt"/>
                <a:cs typeface="Calibri Light" panose="020F0302020204030204" pitchFamily="34" charset="0"/>
              </a:rPr>
              <a:t> ro </a:t>
            </a:r>
            <a:r>
              <a:rPr lang="en-US" sz="1600" dirty="0" err="1">
                <a:solidFill>
                  <a:schemeClr val="tx1"/>
                </a:solidFill>
                <a:latin typeface="+mj-lt"/>
                <a:cs typeface="Calibri Light" panose="020F0302020204030204" pitchFamily="34" charset="0"/>
              </a:rPr>
              <a:t>hiệ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hữu</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hỉ</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mức</a:t>
            </a:r>
            <a:r>
              <a:rPr lang="en-US" sz="1600" dirty="0">
                <a:solidFill>
                  <a:schemeClr val="tx1"/>
                </a:solidFill>
                <a:latin typeface="+mj-lt"/>
                <a:cs typeface="Calibri Light" panose="020F0302020204030204" pitchFamily="34" charset="0"/>
              </a:rPr>
              <a:t> trung </a:t>
            </a:r>
            <a:r>
              <a:rPr lang="en-US" sz="1600" dirty="0" err="1">
                <a:solidFill>
                  <a:schemeClr val="tx1"/>
                </a:solidFill>
                <a:latin typeface="+mj-lt"/>
                <a:cs typeface="Calibri Light" panose="020F0302020204030204" pitchFamily="34" charset="0"/>
              </a:rPr>
              <a:t>bình</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và</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ho</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mục</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tiêu</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ngắ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hạ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mà</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hưa</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quản</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trị</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ho</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các</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mục</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tiêu</a:t>
            </a:r>
            <a:r>
              <a:rPr lang="en-US" sz="1600" dirty="0">
                <a:solidFill>
                  <a:schemeClr val="tx1"/>
                </a:solidFill>
                <a:latin typeface="+mj-lt"/>
                <a:cs typeface="Calibri Light" panose="020F0302020204030204" pitchFamily="34" charset="0"/>
              </a:rPr>
              <a:t> t</a:t>
            </a:r>
            <a:r>
              <a:rPr lang="vi-VN" sz="1600" dirty="0">
                <a:solidFill>
                  <a:schemeClr val="tx1"/>
                </a:solidFill>
                <a:latin typeface="+mj-lt"/>
                <a:cs typeface="Calibri Light" panose="020F0302020204030204" pitchFamily="34" charset="0"/>
              </a:rPr>
              <a:t>ư</a:t>
            </a:r>
            <a:r>
              <a:rPr lang="en-US" sz="1600" dirty="0" err="1">
                <a:solidFill>
                  <a:schemeClr val="tx1"/>
                </a:solidFill>
                <a:latin typeface="+mj-lt"/>
                <a:cs typeface="Calibri Light" panose="020F0302020204030204" pitchFamily="34" charset="0"/>
              </a:rPr>
              <a:t>ơng</a:t>
            </a:r>
            <a:r>
              <a:rPr lang="en-US" sz="1600" dirty="0">
                <a:solidFill>
                  <a:schemeClr val="tx1"/>
                </a:solidFill>
                <a:latin typeface="+mj-lt"/>
                <a:cs typeface="Calibri Light" panose="020F0302020204030204" pitchFamily="34" charset="0"/>
              </a:rPr>
              <a:t> </a:t>
            </a:r>
            <a:r>
              <a:rPr lang="en-US" sz="1600" dirty="0" err="1">
                <a:solidFill>
                  <a:schemeClr val="tx1"/>
                </a:solidFill>
                <a:latin typeface="+mj-lt"/>
                <a:cs typeface="Calibri Light" panose="020F0302020204030204" pitchFamily="34" charset="0"/>
              </a:rPr>
              <a:t>lai</a:t>
            </a:r>
            <a:r>
              <a:rPr lang="en-US" sz="1600" dirty="0">
                <a:solidFill>
                  <a:schemeClr val="tx1"/>
                </a:solidFill>
                <a:latin typeface="+mj-lt"/>
                <a:cs typeface="Calibri Light" panose="020F0302020204030204" pitchFamily="34" charset="0"/>
              </a:rPr>
              <a:t>”</a:t>
            </a:r>
          </a:p>
          <a:p>
            <a:endParaRPr lang="vi-VN" dirty="0">
              <a:latin typeface="+mj-lt"/>
              <a:cs typeface="Calibri Light" panose="020F0302020204030204" pitchFamily="34" charset="0"/>
            </a:endParaRPr>
          </a:p>
          <a:p>
            <a:endParaRPr lang="en-GB" dirty="0">
              <a:latin typeface="+mj-lt"/>
              <a:cs typeface="Calibri Light" panose="020F0302020204030204" pitchFamily="34" charset="0"/>
            </a:endParaRPr>
          </a:p>
        </p:txBody>
      </p:sp>
      <p:grpSp>
        <p:nvGrpSpPr>
          <p:cNvPr id="2" name="Group 1">
            <a:extLst>
              <a:ext uri="{FF2B5EF4-FFF2-40B4-BE49-F238E27FC236}">
                <a16:creationId xmlns:a16="http://schemas.microsoft.com/office/drawing/2014/main" id="{9FBC0DBA-8EF4-4963-B0D7-5595E808F8C5}"/>
              </a:ext>
            </a:extLst>
          </p:cNvPr>
          <p:cNvGrpSpPr/>
          <p:nvPr/>
        </p:nvGrpSpPr>
        <p:grpSpPr>
          <a:xfrm>
            <a:off x="496754" y="3055428"/>
            <a:ext cx="10952159" cy="2653479"/>
            <a:chOff x="978484" y="1731346"/>
            <a:chExt cx="10410876" cy="2187597"/>
          </a:xfrm>
        </p:grpSpPr>
        <p:sp>
          <p:nvSpPr>
            <p:cNvPr id="174" name="Rectangle 173">
              <a:extLst>
                <a:ext uri="{FF2B5EF4-FFF2-40B4-BE49-F238E27FC236}">
                  <a16:creationId xmlns:a16="http://schemas.microsoft.com/office/drawing/2014/main" id="{66972AA4-E037-48B1-B35C-E1D8976FA1AA}"/>
                </a:ext>
              </a:extLst>
            </p:cNvPr>
            <p:cNvSpPr/>
            <p:nvPr/>
          </p:nvSpPr>
          <p:spPr>
            <a:xfrm>
              <a:off x="3820887" y="2739900"/>
              <a:ext cx="7372358" cy="833947"/>
            </a:xfrm>
            <a:prstGeom prst="rect">
              <a:avLst/>
            </a:prstGeom>
            <a:solidFill>
              <a:srgbClr val="53565A"/>
            </a:solidFill>
            <a:ln w="9525" algn="ctr">
              <a:noFill/>
              <a:miter lim="800000"/>
              <a:headEnd/>
              <a:tailEnd/>
            </a:ln>
            <a:effectLst/>
          </p:spPr>
          <p:txBody>
            <a:bodyPr rot="0" spcFirstLastPara="0" vert="horz" wrap="square" lIns="40500" tIns="20250" rIns="30375" bIns="2025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5000"/>
                </a:lnSpc>
                <a:spcBef>
                  <a:spcPts val="0"/>
                </a:spcBef>
                <a:spcAft>
                  <a:spcPts val="563"/>
                </a:spcAft>
                <a:buClrTx/>
                <a:buSzTx/>
                <a:buFontTx/>
                <a:buNone/>
                <a:tabLst/>
                <a:defRPr/>
              </a:pPr>
              <a:r>
                <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p:txBody>
        </p:sp>
        <p:cxnSp>
          <p:nvCxnSpPr>
            <p:cNvPr id="175" name="Straight Connector 174">
              <a:extLst>
                <a:ext uri="{FF2B5EF4-FFF2-40B4-BE49-F238E27FC236}">
                  <a16:creationId xmlns:a16="http://schemas.microsoft.com/office/drawing/2014/main" id="{03F5B606-093D-49B8-89CE-98D932487A00}"/>
                </a:ext>
              </a:extLst>
            </p:cNvPr>
            <p:cNvCxnSpPr>
              <a:cxnSpLocks/>
            </p:cNvCxnSpPr>
            <p:nvPr/>
          </p:nvCxnSpPr>
          <p:spPr>
            <a:xfrm flipV="1">
              <a:off x="1397524" y="2727419"/>
              <a:ext cx="979230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6" name="Text Box 2">
              <a:extLst>
                <a:ext uri="{FF2B5EF4-FFF2-40B4-BE49-F238E27FC236}">
                  <a16:creationId xmlns:a16="http://schemas.microsoft.com/office/drawing/2014/main" id="{5101B24E-7A6F-4F74-942F-CC6E334B85E5}"/>
                </a:ext>
              </a:extLst>
            </p:cNvPr>
            <p:cNvSpPr txBox="1">
              <a:spLocks noChangeArrowheads="1"/>
            </p:cNvSpPr>
            <p:nvPr/>
          </p:nvSpPr>
          <p:spPr bwMode="auto">
            <a:xfrm>
              <a:off x="10331559" y="2773770"/>
              <a:ext cx="1057801" cy="21969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ERM</a:t>
              </a:r>
            </a:p>
          </p:txBody>
        </p:sp>
        <p:sp>
          <p:nvSpPr>
            <p:cNvPr id="177" name="Freeform 23">
              <a:extLst>
                <a:ext uri="{FF2B5EF4-FFF2-40B4-BE49-F238E27FC236}">
                  <a16:creationId xmlns:a16="http://schemas.microsoft.com/office/drawing/2014/main" id="{78A28307-9315-4C8C-89A8-BDB4616CA9B3}"/>
                </a:ext>
              </a:extLst>
            </p:cNvPr>
            <p:cNvSpPr/>
            <p:nvPr/>
          </p:nvSpPr>
          <p:spPr>
            <a:xfrm>
              <a:off x="4916473" y="1809545"/>
              <a:ext cx="4685249" cy="1764316"/>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6FC2B4"/>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78" name="Freeform 24">
              <a:extLst>
                <a:ext uri="{FF2B5EF4-FFF2-40B4-BE49-F238E27FC236}">
                  <a16:creationId xmlns:a16="http://schemas.microsoft.com/office/drawing/2014/main" id="{D61A8451-2E61-49E6-9AC4-BB1859EC5C45}"/>
                </a:ext>
              </a:extLst>
            </p:cNvPr>
            <p:cNvSpPr/>
            <p:nvPr/>
          </p:nvSpPr>
          <p:spPr>
            <a:xfrm>
              <a:off x="5059237" y="2399153"/>
              <a:ext cx="5860857" cy="1172298"/>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0076A8">
                <a:alpha val="67000"/>
              </a:srgbClr>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cxnSp>
          <p:nvCxnSpPr>
            <p:cNvPr id="179" name="Straight Connector 178">
              <a:extLst>
                <a:ext uri="{FF2B5EF4-FFF2-40B4-BE49-F238E27FC236}">
                  <a16:creationId xmlns:a16="http://schemas.microsoft.com/office/drawing/2014/main" id="{EC5DF4F0-4DFC-47B9-8D58-1A278057FF77}"/>
                </a:ext>
              </a:extLst>
            </p:cNvPr>
            <p:cNvCxnSpPr>
              <a:cxnSpLocks/>
            </p:cNvCxnSpPr>
            <p:nvPr/>
          </p:nvCxnSpPr>
          <p:spPr>
            <a:xfrm>
              <a:off x="1380985" y="1791156"/>
              <a:ext cx="0" cy="178764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59270CE5-5ADD-4358-98B5-C9E019BA2930}"/>
                </a:ext>
              </a:extLst>
            </p:cNvPr>
            <p:cNvSpPr/>
            <p:nvPr/>
          </p:nvSpPr>
          <p:spPr>
            <a:xfrm>
              <a:off x="1395509" y="2739900"/>
              <a:ext cx="3677624" cy="581087"/>
            </a:xfrm>
            <a:prstGeom prst="rect">
              <a:avLst/>
            </a:prstGeom>
            <a:solidFill>
              <a:srgbClr val="53565A"/>
            </a:solidFill>
            <a:ln w="9525" algn="ctr">
              <a:noFill/>
              <a:miter lim="800000"/>
              <a:headEnd/>
              <a:tailEnd/>
            </a:ln>
            <a:effectLst/>
          </p:spPr>
          <p:txBody>
            <a:bodyPr rot="0" spcFirstLastPara="0" vert="horz" wrap="square" lIns="40500" tIns="20250" rIns="30375" bIns="2025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5000"/>
                </a:lnSpc>
                <a:spcBef>
                  <a:spcPts val="0"/>
                </a:spcBef>
                <a:spcAft>
                  <a:spcPts val="563"/>
                </a:spcAft>
                <a:buClrTx/>
                <a:buSzTx/>
                <a:buFontTx/>
                <a:buNone/>
                <a:tabLst/>
                <a:defRPr/>
              </a:pPr>
              <a:r>
                <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p:txBody>
        </p:sp>
        <p:sp>
          <p:nvSpPr>
            <p:cNvPr id="181" name="Text Box 2">
              <a:extLst>
                <a:ext uri="{FF2B5EF4-FFF2-40B4-BE49-F238E27FC236}">
                  <a16:creationId xmlns:a16="http://schemas.microsoft.com/office/drawing/2014/main" id="{10441A2B-5B40-403A-9A80-6D3A5A66895C}"/>
                </a:ext>
              </a:extLst>
            </p:cNvPr>
            <p:cNvSpPr txBox="1">
              <a:spLocks noChangeArrowheads="1"/>
            </p:cNvSpPr>
            <p:nvPr/>
          </p:nvSpPr>
          <p:spPr bwMode="auto">
            <a:xfrm>
              <a:off x="1794055" y="2784521"/>
              <a:ext cx="2947790" cy="192260"/>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ị</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rủi</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ro</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doanh</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ghiệp</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ERM)</a:t>
              </a:r>
            </a:p>
          </p:txBody>
        </p:sp>
        <p:sp>
          <p:nvSpPr>
            <p:cNvPr id="182" name="Freeform 28">
              <a:extLst>
                <a:ext uri="{FF2B5EF4-FFF2-40B4-BE49-F238E27FC236}">
                  <a16:creationId xmlns:a16="http://schemas.microsoft.com/office/drawing/2014/main" id="{4C0F6B0A-BF98-4672-97D8-2F8B9566C496}"/>
                </a:ext>
              </a:extLst>
            </p:cNvPr>
            <p:cNvSpPr/>
            <p:nvPr/>
          </p:nvSpPr>
          <p:spPr>
            <a:xfrm>
              <a:off x="5163910" y="2972227"/>
              <a:ext cx="5533401" cy="583242"/>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007680"/>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3" name="Text Box 2">
              <a:extLst>
                <a:ext uri="{FF2B5EF4-FFF2-40B4-BE49-F238E27FC236}">
                  <a16:creationId xmlns:a16="http://schemas.microsoft.com/office/drawing/2014/main" id="{5A1421D3-FA0E-4D98-92AD-DFFDF390B742}"/>
                </a:ext>
              </a:extLst>
            </p:cNvPr>
            <p:cNvSpPr txBox="1">
              <a:spLocks noChangeArrowheads="1"/>
            </p:cNvSpPr>
            <p:nvPr/>
          </p:nvSpPr>
          <p:spPr bwMode="auto">
            <a:xfrm>
              <a:off x="6122669" y="2149704"/>
              <a:ext cx="2272864" cy="192260"/>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ị</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CM)</a:t>
              </a:r>
              <a:endPar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4" name="Text Box 2">
              <a:extLst>
                <a:ext uri="{FF2B5EF4-FFF2-40B4-BE49-F238E27FC236}">
                  <a16:creationId xmlns:a16="http://schemas.microsoft.com/office/drawing/2014/main" id="{99FFD86A-C70C-489A-8223-ABCFF5AB7A1D}"/>
                </a:ext>
              </a:extLst>
            </p:cNvPr>
            <p:cNvSpPr txBox="1">
              <a:spLocks noChangeArrowheads="1"/>
            </p:cNvSpPr>
            <p:nvPr/>
          </p:nvSpPr>
          <p:spPr bwMode="auto">
            <a:xfrm>
              <a:off x="6530830" y="2698387"/>
              <a:ext cx="2840306" cy="192260"/>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h</a:t>
              </a:r>
              <a:r>
                <a:rPr kumimoji="0" lang="vi-VN"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ư</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ơ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ình</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iên</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ục</a:t>
              </a:r>
              <a:endPar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cxnSp>
          <p:nvCxnSpPr>
            <p:cNvPr id="185" name="Straight Connector 184">
              <a:extLst>
                <a:ext uri="{FF2B5EF4-FFF2-40B4-BE49-F238E27FC236}">
                  <a16:creationId xmlns:a16="http://schemas.microsoft.com/office/drawing/2014/main" id="{9E26181D-FE3F-4B8F-AB67-4FE8E5207315}"/>
                </a:ext>
              </a:extLst>
            </p:cNvPr>
            <p:cNvCxnSpPr>
              <a:cxnSpLocks/>
            </p:cNvCxnSpPr>
            <p:nvPr/>
          </p:nvCxnSpPr>
          <p:spPr>
            <a:xfrm flipH="1">
              <a:off x="1380350" y="3582844"/>
              <a:ext cx="9812895" cy="1011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Text Box 2">
              <a:extLst>
                <a:ext uri="{FF2B5EF4-FFF2-40B4-BE49-F238E27FC236}">
                  <a16:creationId xmlns:a16="http://schemas.microsoft.com/office/drawing/2014/main" id="{F2632767-D2B7-401F-A3F5-982198679BFE}"/>
                </a:ext>
              </a:extLst>
            </p:cNvPr>
            <p:cNvSpPr txBox="1">
              <a:spLocks noChangeArrowheads="1"/>
            </p:cNvSpPr>
            <p:nvPr/>
          </p:nvSpPr>
          <p:spPr bwMode="auto">
            <a:xfrm>
              <a:off x="9002922" y="2213657"/>
              <a:ext cx="2186381" cy="405983"/>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AU"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AU"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kinh</a:t>
              </a:r>
              <a:r>
                <a:rPr kumimoji="0" lang="en-AU"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oanh</a:t>
              </a:r>
              <a:r>
                <a:rPr kumimoji="0" lang="en-AU"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bình</a:t>
              </a:r>
              <a:r>
                <a:rPr kumimoji="0" lang="en-AU"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h</a:t>
              </a:r>
              <a:r>
                <a:rPr kumimoji="0" lang="vi-VN"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ư</a:t>
              </a:r>
              <a:r>
                <a:rPr kumimoji="0" lang="en-US" sz="16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ờng</a:t>
              </a:r>
              <a:endParaRPr kumimoji="0" lang="en-AU" sz="16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7" name="Text Box 2">
              <a:extLst>
                <a:ext uri="{FF2B5EF4-FFF2-40B4-BE49-F238E27FC236}">
                  <a16:creationId xmlns:a16="http://schemas.microsoft.com/office/drawing/2014/main" id="{7AF29F01-30C8-429C-AA92-289798C2AF90}"/>
                </a:ext>
              </a:extLst>
            </p:cNvPr>
            <p:cNvSpPr txBox="1">
              <a:spLocks noChangeArrowheads="1"/>
            </p:cNvSpPr>
            <p:nvPr/>
          </p:nvSpPr>
          <p:spPr bwMode="auto">
            <a:xfrm>
              <a:off x="5748506" y="3699247"/>
              <a:ext cx="1104991" cy="219696"/>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h</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ời</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gian</a:t>
              </a:r>
              <a:endPar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8" name="Text Box 2">
              <a:extLst>
                <a:ext uri="{FF2B5EF4-FFF2-40B4-BE49-F238E27FC236}">
                  <a16:creationId xmlns:a16="http://schemas.microsoft.com/office/drawing/2014/main" id="{7C847CE8-4CE6-4266-B9B5-448F875EB741}"/>
                </a:ext>
              </a:extLst>
            </p:cNvPr>
            <p:cNvSpPr txBox="1">
              <a:spLocks noChangeArrowheads="1"/>
            </p:cNvSpPr>
            <p:nvPr/>
          </p:nvSpPr>
          <p:spPr bwMode="auto">
            <a:xfrm rot="16200000">
              <a:off x="325918" y="2443722"/>
              <a:ext cx="1558446" cy="253313"/>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ác</a:t>
              </a:r>
              <a:r>
                <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yêu</a:t>
              </a:r>
              <a:r>
                <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ầu</a:t>
              </a:r>
              <a:endPar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9" name="Rectangle 188">
              <a:extLst>
                <a:ext uri="{FF2B5EF4-FFF2-40B4-BE49-F238E27FC236}">
                  <a16:creationId xmlns:a16="http://schemas.microsoft.com/office/drawing/2014/main" id="{3134B5B3-034C-4DEC-B6A6-CC36FFEDC248}"/>
                </a:ext>
              </a:extLst>
            </p:cNvPr>
            <p:cNvSpPr/>
            <p:nvPr/>
          </p:nvSpPr>
          <p:spPr bwMode="gray">
            <a:xfrm>
              <a:off x="1395505" y="3238362"/>
              <a:ext cx="3681928" cy="221076"/>
            </a:xfrm>
            <a:prstGeom prst="rect">
              <a:avLst/>
            </a:prstGeom>
            <a:solidFill>
              <a:srgbClr val="0076A8"/>
            </a:solidFill>
            <a:ln w="9525" algn="ctr">
              <a:solidFill>
                <a:srgbClr val="0076A8"/>
              </a:solid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ế</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ch</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iên</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ục</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BCP)</a:t>
              </a:r>
            </a:p>
          </p:txBody>
        </p:sp>
        <p:sp>
          <p:nvSpPr>
            <p:cNvPr id="190" name="Rectangle 189">
              <a:extLst>
                <a:ext uri="{FF2B5EF4-FFF2-40B4-BE49-F238E27FC236}">
                  <a16:creationId xmlns:a16="http://schemas.microsoft.com/office/drawing/2014/main" id="{F6B0D136-81CF-4105-A891-94845E7E4051}"/>
                </a:ext>
              </a:extLst>
            </p:cNvPr>
            <p:cNvSpPr/>
            <p:nvPr/>
          </p:nvSpPr>
          <p:spPr bwMode="gray">
            <a:xfrm>
              <a:off x="1395506" y="3015199"/>
              <a:ext cx="3964259" cy="244943"/>
            </a:xfrm>
            <a:prstGeom prst="rect">
              <a:avLst/>
            </a:prstGeom>
            <a:solidFill>
              <a:srgbClr val="6FC2B4"/>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ị</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r>
                <a:rPr kumimoji="0" lang="en-US"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CM) </a:t>
              </a:r>
            </a:p>
          </p:txBody>
        </p:sp>
        <p:sp>
          <p:nvSpPr>
            <p:cNvPr id="191" name="Text Box 2">
              <a:extLst>
                <a:ext uri="{FF2B5EF4-FFF2-40B4-BE49-F238E27FC236}">
                  <a16:creationId xmlns:a16="http://schemas.microsoft.com/office/drawing/2014/main" id="{D5A7739F-E68B-4704-83AA-B9D11343FA1B}"/>
                </a:ext>
              </a:extLst>
            </p:cNvPr>
            <p:cNvSpPr txBox="1">
              <a:spLocks noChangeArrowheads="1"/>
            </p:cNvSpPr>
            <p:nvPr/>
          </p:nvSpPr>
          <p:spPr bwMode="auto">
            <a:xfrm>
              <a:off x="6598099" y="3266768"/>
              <a:ext cx="2840306" cy="192260"/>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ôi</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hục</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au</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ự</a:t>
              </a:r>
              <a:r>
                <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4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ố</a:t>
              </a:r>
              <a:endParaRPr kumimoji="0" lang="en-AU" sz="14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2" name="Rectangle 191">
              <a:extLst>
                <a:ext uri="{FF2B5EF4-FFF2-40B4-BE49-F238E27FC236}">
                  <a16:creationId xmlns:a16="http://schemas.microsoft.com/office/drawing/2014/main" id="{D2C4DAFA-7C1E-4976-88F8-43EAE4F9E27F}"/>
                </a:ext>
              </a:extLst>
            </p:cNvPr>
            <p:cNvSpPr/>
            <p:nvPr/>
          </p:nvSpPr>
          <p:spPr bwMode="gray">
            <a:xfrm>
              <a:off x="1395505" y="3455638"/>
              <a:ext cx="3681928" cy="124604"/>
            </a:xfrm>
            <a:prstGeom prst="rect">
              <a:avLst/>
            </a:prstGeom>
            <a:solidFill>
              <a:srgbClr val="007680"/>
            </a:solidFill>
            <a:ln w="9525" algn="ctr">
              <a:solidFill>
                <a:srgbClr val="0076A8"/>
              </a:solid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ế</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ch</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ôi</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hục</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ự</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ố</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Disaster Recovery planning)</a:t>
              </a:r>
            </a:p>
          </p:txBody>
        </p:sp>
        <p:sp>
          <p:nvSpPr>
            <p:cNvPr id="193" name="Freeform 29">
              <a:extLst>
                <a:ext uri="{FF2B5EF4-FFF2-40B4-BE49-F238E27FC236}">
                  <a16:creationId xmlns:a16="http://schemas.microsoft.com/office/drawing/2014/main" id="{2E2C22D8-951B-4062-BD7D-B54177E52EB7}"/>
                </a:ext>
              </a:extLst>
            </p:cNvPr>
            <p:cNvSpPr/>
            <p:nvPr/>
          </p:nvSpPr>
          <p:spPr>
            <a:xfrm>
              <a:off x="5072572" y="1775105"/>
              <a:ext cx="915945" cy="1835533"/>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012169">
                <a:alpha val="67000"/>
              </a:srgbClr>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4" name="Text Box 2">
              <a:extLst>
                <a:ext uri="{FF2B5EF4-FFF2-40B4-BE49-F238E27FC236}">
                  <a16:creationId xmlns:a16="http://schemas.microsoft.com/office/drawing/2014/main" id="{583C0E7D-8A65-4694-8698-54F737AB2056}"/>
                </a:ext>
              </a:extLst>
            </p:cNvPr>
            <p:cNvSpPr txBox="1">
              <a:spLocks noChangeArrowheads="1"/>
            </p:cNvSpPr>
            <p:nvPr/>
          </p:nvSpPr>
          <p:spPr bwMode="auto">
            <a:xfrm>
              <a:off x="4421168" y="1731346"/>
              <a:ext cx="949006" cy="453136"/>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hản</a:t>
              </a:r>
              <a:r>
                <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ứng</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lại</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với</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ự</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6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ố</a:t>
              </a:r>
              <a:endParaRPr kumimoji="0" lang="en-AU" sz="16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5" name="Explosion 1 37">
              <a:extLst>
                <a:ext uri="{FF2B5EF4-FFF2-40B4-BE49-F238E27FC236}">
                  <a16:creationId xmlns:a16="http://schemas.microsoft.com/office/drawing/2014/main" id="{875A29CF-5850-40BB-A974-FA5D7FBBDD76}"/>
                </a:ext>
              </a:extLst>
            </p:cNvPr>
            <p:cNvSpPr/>
            <p:nvPr/>
          </p:nvSpPr>
          <p:spPr>
            <a:xfrm>
              <a:off x="4803364" y="3022081"/>
              <a:ext cx="877729" cy="843530"/>
            </a:xfrm>
            <a:prstGeom prst="irregularSeal1">
              <a:avLst/>
            </a:prstGeom>
            <a:solidFill>
              <a:srgbClr val="00A3E0"/>
            </a:solidFill>
            <a:ln w="9525" algn="ctr">
              <a:noFill/>
              <a:miter lim="800000"/>
              <a:headEnd/>
              <a:tailEnd/>
            </a:ln>
            <a:effectLst/>
          </p:spPr>
          <p:txBody>
            <a:bodyPr rot="0" spcFirstLastPara="0" vert="horz" wrap="square" lIns="40500" tIns="20250" rIns="30375" bIns="2025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6" name="Text Box 2">
              <a:extLst>
                <a:ext uri="{FF2B5EF4-FFF2-40B4-BE49-F238E27FC236}">
                  <a16:creationId xmlns:a16="http://schemas.microsoft.com/office/drawing/2014/main" id="{984B0B27-B289-466C-8597-E0DCF91885AA}"/>
                </a:ext>
              </a:extLst>
            </p:cNvPr>
            <p:cNvSpPr txBox="1">
              <a:spLocks noChangeArrowheads="1"/>
            </p:cNvSpPr>
            <p:nvPr/>
          </p:nvSpPr>
          <p:spPr bwMode="auto">
            <a:xfrm>
              <a:off x="4848427" y="3321265"/>
              <a:ext cx="750879" cy="16482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ự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iện</a:t>
              </a:r>
              <a:endPar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grpSp>
      <p:grpSp>
        <p:nvGrpSpPr>
          <p:cNvPr id="41" name="Group 40">
            <a:extLst>
              <a:ext uri="{FF2B5EF4-FFF2-40B4-BE49-F238E27FC236}">
                <a16:creationId xmlns:a16="http://schemas.microsoft.com/office/drawing/2014/main" id="{4CDD7F08-FE60-493B-B3DB-7DFEA2A861E6}"/>
              </a:ext>
            </a:extLst>
          </p:cNvPr>
          <p:cNvGrpSpPr>
            <a:grpSpLocks noChangeAspect="1"/>
          </p:cNvGrpSpPr>
          <p:nvPr/>
        </p:nvGrpSpPr>
        <p:grpSpPr>
          <a:xfrm>
            <a:off x="460541" y="191737"/>
            <a:ext cx="1819109" cy="345828"/>
            <a:chOff x="398463" y="404813"/>
            <a:chExt cx="1627187" cy="307976"/>
          </a:xfrm>
          <a:solidFill>
            <a:schemeClr val="tx1"/>
          </a:solidFill>
        </p:grpSpPr>
        <p:sp>
          <p:nvSpPr>
            <p:cNvPr id="42" name="Oval 41">
              <a:extLst>
                <a:ext uri="{FF2B5EF4-FFF2-40B4-BE49-F238E27FC236}">
                  <a16:creationId xmlns:a16="http://schemas.microsoft.com/office/drawing/2014/main" id="{210489C4-EF74-4E61-A30E-2DD5386310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3" name="Freeform 6">
              <a:extLst>
                <a:ext uri="{FF2B5EF4-FFF2-40B4-BE49-F238E27FC236}">
                  <a16:creationId xmlns:a16="http://schemas.microsoft.com/office/drawing/2014/main" id="{32424F32-5BB2-4441-88E4-6872201C6BF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4" name="Rectangle 43">
              <a:extLst>
                <a:ext uri="{FF2B5EF4-FFF2-40B4-BE49-F238E27FC236}">
                  <a16:creationId xmlns:a16="http://schemas.microsoft.com/office/drawing/2014/main" id="{06B82190-E2CA-4D14-9A9B-18E332152EB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18F93CD9-3F34-493C-B1FC-DE078E57096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45">
              <a:extLst>
                <a:ext uri="{FF2B5EF4-FFF2-40B4-BE49-F238E27FC236}">
                  <a16:creationId xmlns:a16="http://schemas.microsoft.com/office/drawing/2014/main" id="{CB9CA161-E71C-4D2F-9E07-4CB7367D69AA}"/>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46">
              <a:extLst>
                <a:ext uri="{FF2B5EF4-FFF2-40B4-BE49-F238E27FC236}">
                  <a16:creationId xmlns:a16="http://schemas.microsoft.com/office/drawing/2014/main" id="{F9A481AF-B220-44C1-823C-DDDDB17748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DC097F30-23D4-4BE6-9325-4A17E718580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C83FF7B8-63C1-44A5-BB8A-E9C7F9E5C02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9BD9D0C6-BD45-4DEE-AD90-F5ACC0A87EDE}"/>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86E4052B-54F0-4C7A-95E8-38756A52A00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52" name="Picture 51" descr="A picture containing text, vector graphics, fan, device&#10;&#10;Description automatically generated">
            <a:extLst>
              <a:ext uri="{FF2B5EF4-FFF2-40B4-BE49-F238E27FC236}">
                <a16:creationId xmlns:a16="http://schemas.microsoft.com/office/drawing/2014/main" id="{BDA98A97-D88D-4AEB-89F4-439E94C6A4A7}"/>
              </a:ext>
            </a:extLst>
          </p:cNvPr>
          <p:cNvPicPr>
            <a:picLocks noChangeAspect="1"/>
          </p:cNvPicPr>
          <p:nvPr/>
        </p:nvPicPr>
        <p:blipFill>
          <a:blip r:embed="rId3"/>
          <a:stretch>
            <a:fillRect/>
          </a:stretch>
        </p:blipFill>
        <p:spPr>
          <a:xfrm>
            <a:off x="10421786" y="208439"/>
            <a:ext cx="1547608" cy="895983"/>
          </a:xfrm>
          <a:prstGeom prst="rect">
            <a:avLst/>
          </a:prstGeom>
        </p:spPr>
      </p:pic>
      <p:sp>
        <p:nvSpPr>
          <p:cNvPr id="64" name="Text Box 2">
            <a:extLst>
              <a:ext uri="{FF2B5EF4-FFF2-40B4-BE49-F238E27FC236}">
                <a16:creationId xmlns:a16="http://schemas.microsoft.com/office/drawing/2014/main" id="{AD86F17F-4BC2-4D20-9F6C-E12C286A44E6}"/>
              </a:ext>
            </a:extLst>
          </p:cNvPr>
          <p:cNvSpPr txBox="1">
            <a:spLocks noChangeArrowheads="1"/>
          </p:cNvSpPr>
          <p:nvPr/>
        </p:nvSpPr>
        <p:spPr bwMode="auto">
          <a:xfrm>
            <a:off x="4409690" y="5656406"/>
            <a:ext cx="1162442" cy="299826"/>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b="1">
                <a:solidFill>
                  <a:srgbClr val="FF0000"/>
                </a:solidFill>
                <a:latin typeface="Calibri Light" panose="020F0302020204030204" pitchFamily="34" charset="0"/>
                <a:ea typeface="Verdana" panose="020B0604030504040204" pitchFamily="34" charset="0"/>
                <a:cs typeface="Calibri Light" panose="020F0302020204030204" pitchFamily="34" charset="0"/>
              </a:rPr>
              <a:t>COVID-19</a:t>
            </a:r>
            <a:endParaRPr kumimoji="0" lang="en-AU" b="1" i="0" u="none" strike="noStrike" kern="1200" cap="none" spc="0" normalizeH="0" baseline="0" noProof="0" dirty="0">
              <a:ln>
                <a:noFill/>
              </a:ln>
              <a:solidFill>
                <a:srgbClr val="FF0000"/>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Tree>
    <p:extLst>
      <p:ext uri="{BB962C8B-B14F-4D97-AF65-F5344CB8AC3E}">
        <p14:creationId xmlns:p14="http://schemas.microsoft.com/office/powerpoint/2010/main" val="395399916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2" name="Table 171">
            <a:extLst>
              <a:ext uri="{FF2B5EF4-FFF2-40B4-BE49-F238E27FC236}">
                <a16:creationId xmlns:a16="http://schemas.microsoft.com/office/drawing/2014/main" id="{3B1BF495-ACD0-4996-B279-8732E17C1FE0}"/>
              </a:ext>
            </a:extLst>
          </p:cNvPr>
          <p:cNvGraphicFramePr>
            <a:graphicFrameLocks noGrp="1"/>
          </p:cNvGraphicFramePr>
          <p:nvPr>
            <p:extLst>
              <p:ext uri="{D42A27DB-BD31-4B8C-83A1-F6EECF244321}">
                <p14:modId xmlns:p14="http://schemas.microsoft.com/office/powerpoint/2010/main" val="3724736074"/>
              </p:ext>
            </p:extLst>
          </p:nvPr>
        </p:nvGraphicFramePr>
        <p:xfrm>
          <a:off x="648109" y="1641315"/>
          <a:ext cx="11021377" cy="4867958"/>
        </p:xfrm>
        <a:graphic>
          <a:graphicData uri="http://schemas.openxmlformats.org/drawingml/2006/table">
            <a:tbl>
              <a:tblPr firstRow="1" bandRow="1">
                <a:tableStyleId>{5C22544A-7EE6-4342-B048-85BDC9FD1C3A}</a:tableStyleId>
              </a:tblPr>
              <a:tblGrid>
                <a:gridCol w="318812">
                  <a:extLst>
                    <a:ext uri="{9D8B030D-6E8A-4147-A177-3AD203B41FA5}">
                      <a16:colId xmlns:a16="http://schemas.microsoft.com/office/drawing/2014/main" val="164895650"/>
                    </a:ext>
                  </a:extLst>
                </a:gridCol>
                <a:gridCol w="2216049">
                  <a:extLst>
                    <a:ext uri="{9D8B030D-6E8A-4147-A177-3AD203B41FA5}">
                      <a16:colId xmlns:a16="http://schemas.microsoft.com/office/drawing/2014/main" val="3021102122"/>
                    </a:ext>
                  </a:extLst>
                </a:gridCol>
                <a:gridCol w="2121629">
                  <a:extLst>
                    <a:ext uri="{9D8B030D-6E8A-4147-A177-3AD203B41FA5}">
                      <a16:colId xmlns:a16="http://schemas.microsoft.com/office/drawing/2014/main" val="3010313135"/>
                    </a:ext>
                  </a:extLst>
                </a:gridCol>
                <a:gridCol w="2121629">
                  <a:extLst>
                    <a:ext uri="{9D8B030D-6E8A-4147-A177-3AD203B41FA5}">
                      <a16:colId xmlns:a16="http://schemas.microsoft.com/office/drawing/2014/main" val="2212542903"/>
                    </a:ext>
                  </a:extLst>
                </a:gridCol>
                <a:gridCol w="2121629">
                  <a:extLst>
                    <a:ext uri="{9D8B030D-6E8A-4147-A177-3AD203B41FA5}">
                      <a16:colId xmlns:a16="http://schemas.microsoft.com/office/drawing/2014/main" val="3191526735"/>
                    </a:ext>
                  </a:extLst>
                </a:gridCol>
                <a:gridCol w="2121629">
                  <a:extLst>
                    <a:ext uri="{9D8B030D-6E8A-4147-A177-3AD203B41FA5}">
                      <a16:colId xmlns:a16="http://schemas.microsoft.com/office/drawing/2014/main" val="402785785"/>
                    </a:ext>
                  </a:extLst>
                </a:gridCol>
              </a:tblGrid>
              <a:tr h="3303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500" b="1" dirty="0">
                        <a:solidFill>
                          <a:srgbClr val="53565A"/>
                        </a:solidFill>
                        <a:latin typeface="Calibri" panose="020F0502020204030204" pitchFamily="34" charset="0"/>
                        <a:cs typeface="Calibri" panose="020F0502020204030204" pitchFamily="34" charset="0"/>
                      </a:endParaRPr>
                    </a:p>
                  </a:txBody>
                  <a:tcPr marL="51435" marR="51435" marT="51435" marB="51435" anchor="ctr">
                    <a:lnL w="12700" cmpd="sng">
                      <a:noFill/>
                    </a:lnL>
                    <a:lnR w="12700" cap="flat" cmpd="sng" algn="ctr">
                      <a:solidFill>
                        <a:srgbClr val="53565A"/>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err="1">
                          <a:solidFill>
                            <a:schemeClr val="bg1"/>
                          </a:solidFill>
                          <a:latin typeface="Calibri" panose="020F0502020204030204" pitchFamily="34" charset="0"/>
                          <a:cs typeface="Calibri" panose="020F0502020204030204" pitchFamily="34" charset="0"/>
                        </a:rPr>
                        <a:t>Quản</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trị</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rủi</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ro</a:t>
                      </a:r>
                      <a:endParaRPr lang="en-US" sz="1500" b="1" dirty="0">
                        <a:solidFill>
                          <a:schemeClr val="bg1"/>
                        </a:solidFill>
                        <a:latin typeface="Calibri" panose="020F0502020204030204" pitchFamily="34" charset="0"/>
                        <a:cs typeface="Calibri" panose="020F0502020204030204" pitchFamily="34" charset="0"/>
                      </a:endParaRPr>
                    </a:p>
                  </a:txBody>
                  <a:tcPr marL="51435" marR="51435"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lang="en-US" sz="1500" dirty="0" err="1">
                          <a:solidFill>
                            <a:schemeClr val="bg1"/>
                          </a:solidFill>
                          <a:latin typeface="Calibri" panose="020F0502020204030204" pitchFamily="34" charset="0"/>
                          <a:cs typeface="Calibri" panose="020F0502020204030204" pitchFamily="34" charset="0"/>
                        </a:rPr>
                        <a:t>Phản</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ứng</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lại</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với</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sự</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cố</a:t>
                      </a:r>
                      <a:endParaRPr lang="en-US" sz="1500" dirty="0">
                        <a:solidFill>
                          <a:schemeClr val="bg1"/>
                        </a:solidFill>
                        <a:latin typeface="Calibri" panose="020F0502020204030204" pitchFamily="34" charset="0"/>
                        <a:cs typeface="Calibri" panose="020F0502020204030204" pitchFamily="34" charset="0"/>
                      </a:endParaRPr>
                    </a:p>
                  </a:txBody>
                  <a:tcPr marL="15431" marR="15431"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p>
                      <a:pPr algn="ctr">
                        <a:lnSpc>
                          <a:spcPct val="115000"/>
                        </a:lnSpc>
                      </a:pPr>
                      <a:r>
                        <a:rPr lang="en-AU" sz="1500" b="1" dirty="0" err="1">
                          <a:solidFill>
                            <a:prstClr val="white"/>
                          </a:solidFill>
                          <a:latin typeface="Calibri" panose="020F0502020204030204" pitchFamily="34" charset="0"/>
                          <a:ea typeface="Verdana" panose="020B0604030504040204" pitchFamily="34" charset="0"/>
                          <a:cs typeface="Calibri" panose="020F0502020204030204" pitchFamily="34" charset="0"/>
                        </a:rPr>
                        <a:t>Khôi</a:t>
                      </a:r>
                      <a:r>
                        <a:rPr lang="en-AU" sz="15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500" b="1" dirty="0" err="1">
                          <a:solidFill>
                            <a:prstClr val="white"/>
                          </a:solidFill>
                          <a:latin typeface="Calibri" panose="020F0502020204030204" pitchFamily="34" charset="0"/>
                          <a:ea typeface="Verdana" panose="020B0604030504040204" pitchFamily="34" charset="0"/>
                          <a:cs typeface="Calibri" panose="020F0502020204030204" pitchFamily="34" charset="0"/>
                        </a:rPr>
                        <a:t>phục</a:t>
                      </a:r>
                      <a:r>
                        <a:rPr lang="en-AU" sz="15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500" b="1" dirty="0" err="1">
                          <a:solidFill>
                            <a:prstClr val="white"/>
                          </a:solidFill>
                          <a:latin typeface="Calibri" panose="020F0502020204030204" pitchFamily="34" charset="0"/>
                          <a:ea typeface="Verdana" panose="020B0604030504040204" pitchFamily="34" charset="0"/>
                          <a:cs typeface="Calibri" panose="020F0502020204030204" pitchFamily="34" charset="0"/>
                        </a:rPr>
                        <a:t>sau</a:t>
                      </a:r>
                      <a:r>
                        <a:rPr lang="en-AU" sz="15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500" b="1" dirty="0" err="1">
                          <a:solidFill>
                            <a:prstClr val="white"/>
                          </a:solidFill>
                          <a:latin typeface="Calibri" panose="020F0502020204030204" pitchFamily="34" charset="0"/>
                          <a:ea typeface="Verdana" panose="020B0604030504040204" pitchFamily="34" charset="0"/>
                          <a:cs typeface="Calibri" panose="020F0502020204030204" pitchFamily="34" charset="0"/>
                        </a:rPr>
                        <a:t>sự</a:t>
                      </a:r>
                      <a:r>
                        <a:rPr lang="en-AU" sz="15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500" b="1" dirty="0" err="1">
                          <a:solidFill>
                            <a:prstClr val="white"/>
                          </a:solidFill>
                          <a:latin typeface="Calibri" panose="020F0502020204030204" pitchFamily="34" charset="0"/>
                          <a:ea typeface="Verdana" panose="020B0604030504040204" pitchFamily="34" charset="0"/>
                          <a:cs typeface="Calibri" panose="020F0502020204030204" pitchFamily="34" charset="0"/>
                        </a:rPr>
                        <a:t>cố</a:t>
                      </a:r>
                      <a:endParaRPr lang="en-AU" sz="1500" b="1" dirty="0">
                        <a:solidFill>
                          <a:prstClr val="white"/>
                        </a:solidFill>
                        <a:latin typeface="Calibri" panose="020F0502020204030204" pitchFamily="34" charset="0"/>
                        <a:ea typeface="Verdana" panose="020B0604030504040204" pitchFamily="34" charset="0"/>
                        <a:cs typeface="Calibri" panose="020F0502020204030204" pitchFamily="34" charset="0"/>
                      </a:endParaRPr>
                    </a:p>
                  </a:txBody>
                  <a:tcPr marL="15431" marR="15431"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marL="0" algn="ctr" defTabSz="914400" rtl="0" eaLnBrk="1" latinLnBrk="0" hangingPunct="1"/>
                      <a:r>
                        <a:rPr lang="en-US" sz="1500" b="1" kern="1200" dirty="0" err="1">
                          <a:solidFill>
                            <a:schemeClr val="bg1"/>
                          </a:solidFill>
                          <a:latin typeface="Calibri" panose="020F0502020204030204" pitchFamily="34" charset="0"/>
                          <a:ea typeface="+mn-ea"/>
                          <a:cs typeface="Calibri" panose="020F0502020204030204" pitchFamily="34" charset="0"/>
                        </a:rPr>
                        <a:t>Hoạt</a:t>
                      </a:r>
                      <a:r>
                        <a:rPr lang="en-US" sz="1500" b="1" kern="1200" dirty="0">
                          <a:solidFill>
                            <a:schemeClr val="bg1"/>
                          </a:solidFill>
                          <a:latin typeface="Calibri" panose="020F0502020204030204" pitchFamily="34" charset="0"/>
                          <a:ea typeface="+mn-ea"/>
                          <a:cs typeface="Calibri" panose="020F0502020204030204" pitchFamily="34" charset="0"/>
                        </a:rPr>
                        <a:t> </a:t>
                      </a:r>
                      <a:r>
                        <a:rPr lang="en-US" sz="1500" b="1" kern="1200" dirty="0" err="1">
                          <a:solidFill>
                            <a:schemeClr val="bg1"/>
                          </a:solidFill>
                          <a:latin typeface="Calibri" panose="020F0502020204030204" pitchFamily="34" charset="0"/>
                          <a:ea typeface="+mn-ea"/>
                          <a:cs typeface="Calibri" panose="020F0502020204030204" pitchFamily="34" charset="0"/>
                        </a:rPr>
                        <a:t>động</a:t>
                      </a:r>
                      <a:r>
                        <a:rPr lang="en-US" sz="1500" b="1" kern="1200" dirty="0">
                          <a:solidFill>
                            <a:schemeClr val="bg1"/>
                          </a:solidFill>
                          <a:latin typeface="Calibri" panose="020F0502020204030204" pitchFamily="34" charset="0"/>
                          <a:ea typeface="+mn-ea"/>
                          <a:cs typeface="Calibri" panose="020F0502020204030204" pitchFamily="34" charset="0"/>
                        </a:rPr>
                        <a:t> </a:t>
                      </a:r>
                      <a:r>
                        <a:rPr lang="en-US" sz="1500" b="1" kern="1200" dirty="0" err="1">
                          <a:solidFill>
                            <a:schemeClr val="bg1"/>
                          </a:solidFill>
                          <a:latin typeface="Calibri" panose="020F0502020204030204" pitchFamily="34" charset="0"/>
                          <a:ea typeface="+mn-ea"/>
                          <a:cs typeface="Calibri" panose="020F0502020204030204" pitchFamily="34" charset="0"/>
                        </a:rPr>
                        <a:t>liên</a:t>
                      </a:r>
                      <a:r>
                        <a:rPr lang="en-US" sz="1500" b="1" kern="1200" dirty="0">
                          <a:solidFill>
                            <a:schemeClr val="bg1"/>
                          </a:solidFill>
                          <a:latin typeface="Calibri" panose="020F0502020204030204" pitchFamily="34" charset="0"/>
                          <a:ea typeface="+mn-ea"/>
                          <a:cs typeface="Calibri" panose="020F0502020204030204" pitchFamily="34" charset="0"/>
                        </a:rPr>
                        <a:t> </a:t>
                      </a:r>
                      <a:r>
                        <a:rPr lang="en-US" sz="1500" b="1" kern="1200" dirty="0" err="1">
                          <a:solidFill>
                            <a:schemeClr val="bg1"/>
                          </a:solidFill>
                          <a:latin typeface="Calibri" panose="020F0502020204030204" pitchFamily="34" charset="0"/>
                          <a:ea typeface="+mn-ea"/>
                          <a:cs typeface="Calibri" panose="020F0502020204030204" pitchFamily="34" charset="0"/>
                        </a:rPr>
                        <a:t>tục</a:t>
                      </a:r>
                      <a:endParaRPr lang="en-US" sz="1500" b="1" kern="1200" dirty="0">
                        <a:solidFill>
                          <a:schemeClr val="bg1"/>
                        </a:solidFill>
                        <a:latin typeface="Calibri" panose="020F0502020204030204" pitchFamily="34" charset="0"/>
                        <a:ea typeface="+mn-ea"/>
                        <a:cs typeface="Calibri" panose="020F0502020204030204" pitchFamily="34" charset="0"/>
                      </a:endParaRPr>
                    </a:p>
                  </a:txBody>
                  <a:tcPr marL="15431" marR="15431"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0076A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dirty="0" err="1">
                          <a:solidFill>
                            <a:schemeClr val="bg1"/>
                          </a:solidFill>
                          <a:latin typeface="Calibri" panose="020F0502020204030204" pitchFamily="34" charset="0"/>
                          <a:cs typeface="Calibri" panose="020F0502020204030204" pitchFamily="34" charset="0"/>
                        </a:rPr>
                        <a:t>Quản</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lý</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khủng</a:t>
                      </a:r>
                      <a:r>
                        <a:rPr lang="en-US" sz="1500" dirty="0">
                          <a:solidFill>
                            <a:schemeClr val="bg1"/>
                          </a:solidFill>
                          <a:latin typeface="Calibri" panose="020F0502020204030204" pitchFamily="34" charset="0"/>
                          <a:cs typeface="Calibri" panose="020F0502020204030204" pitchFamily="34" charset="0"/>
                        </a:rPr>
                        <a:t> </a:t>
                      </a:r>
                      <a:r>
                        <a:rPr lang="en-US" sz="1500" dirty="0" err="1">
                          <a:solidFill>
                            <a:schemeClr val="bg1"/>
                          </a:solidFill>
                          <a:latin typeface="Calibri" panose="020F0502020204030204" pitchFamily="34" charset="0"/>
                          <a:cs typeface="Calibri" panose="020F0502020204030204" pitchFamily="34" charset="0"/>
                        </a:rPr>
                        <a:t>hoảng</a:t>
                      </a:r>
                      <a:endParaRPr lang="en-US" sz="1500" dirty="0">
                        <a:solidFill>
                          <a:schemeClr val="bg1"/>
                        </a:solidFill>
                        <a:latin typeface="Calibri" panose="020F0502020204030204" pitchFamily="34" charset="0"/>
                        <a:cs typeface="Calibri" panose="020F0502020204030204" pitchFamily="34" charset="0"/>
                      </a:endParaRPr>
                    </a:p>
                  </a:txBody>
                  <a:tcPr marL="51435" marR="51435"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6FC2B4"/>
                    </a:solidFill>
                  </a:tcPr>
                </a:tc>
                <a:extLst>
                  <a:ext uri="{0D108BD9-81ED-4DB2-BD59-A6C34878D82A}">
                    <a16:rowId xmlns:a16="http://schemas.microsoft.com/office/drawing/2014/main" val="1207890314"/>
                  </a:ext>
                </a:extLst>
              </a:tr>
              <a:tr h="1676505">
                <a:tc>
                  <a:txBody>
                    <a:bodyPr/>
                    <a:lstStyle/>
                    <a:p>
                      <a:pPr algn="ctr"/>
                      <a:r>
                        <a:rPr lang="en-US" sz="1500" b="0" i="0" dirty="0" err="1">
                          <a:solidFill>
                            <a:schemeClr val="tx1"/>
                          </a:solidFill>
                          <a:latin typeface="Calibri" panose="020F0502020204030204" pitchFamily="34" charset="0"/>
                          <a:cs typeface="Calibri" panose="020F0502020204030204" pitchFamily="34" charset="0"/>
                        </a:rPr>
                        <a:t>Mô</a:t>
                      </a:r>
                      <a:r>
                        <a:rPr lang="en-US" sz="1500" b="0" i="0" dirty="0">
                          <a:solidFill>
                            <a:schemeClr val="tx1"/>
                          </a:solidFill>
                          <a:latin typeface="Calibri" panose="020F0502020204030204" pitchFamily="34" charset="0"/>
                          <a:cs typeface="Calibri" panose="020F0502020204030204" pitchFamily="34" charset="0"/>
                        </a:rPr>
                        <a:t> </a:t>
                      </a:r>
                      <a:r>
                        <a:rPr lang="en-US" sz="1500" b="0" i="0" dirty="0" err="1">
                          <a:solidFill>
                            <a:schemeClr val="tx1"/>
                          </a:solidFill>
                          <a:latin typeface="Calibri" panose="020F0502020204030204" pitchFamily="34" charset="0"/>
                          <a:cs typeface="Calibri" panose="020F0502020204030204" pitchFamily="34" charset="0"/>
                        </a:rPr>
                        <a:t>tả</a:t>
                      </a:r>
                      <a:endParaRPr lang="en-US" sz="1500" b="0" i="0" dirty="0">
                        <a:solidFill>
                          <a:schemeClr val="tx1"/>
                        </a:solidFill>
                        <a:latin typeface="Calibri" panose="020F0502020204030204" pitchFamily="34" charset="0"/>
                        <a:cs typeface="Calibri" panose="020F0502020204030204" pitchFamily="34" charset="0"/>
                      </a:endParaRPr>
                    </a:p>
                  </a:txBody>
                  <a:tcPr marL="51435" marR="51435" marT="77153" marB="77153" vert="vert270"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D0D0CE"/>
                    </a:solidFill>
                  </a:tcPr>
                </a:tc>
                <a:tc>
                  <a:txBody>
                    <a:bodyPr/>
                    <a:lstStyle/>
                    <a:p>
                      <a:r>
                        <a:rPr lang="en-US" sz="1500" b="0" dirty="0" err="1">
                          <a:solidFill>
                            <a:schemeClr val="tx1"/>
                          </a:solidFill>
                          <a:latin typeface="Calibri" panose="020F0502020204030204" pitchFamily="34" charset="0"/>
                          <a:cs typeface="Calibri" panose="020F0502020204030204" pitchFamily="34" charset="0"/>
                        </a:rPr>
                        <a:t>Dựa</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vào</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vă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hóa</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nă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lực</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và</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hực</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iễ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để</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quả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lý</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rủi</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ro</a:t>
                      </a:r>
                      <a:endParaRPr lang="en-US" sz="1500" dirty="0">
                        <a:solidFill>
                          <a:schemeClr val="tx1"/>
                        </a:solidFill>
                        <a:latin typeface="Calibri" panose="020F0502020204030204" pitchFamily="34" charset="0"/>
                        <a:cs typeface="Calibri" panose="020F0502020204030204" pitchFamily="34" charset="0"/>
                      </a:endParaRPr>
                    </a:p>
                  </a:txBody>
                  <a:tcPr marL="51435" marR="51435" marT="77153" marB="77153">
                    <a:lnL w="12700" cap="flat" cmpd="sng" algn="ctr">
                      <a:solidFill>
                        <a:srgbClr val="53565A"/>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dirty="0" err="1">
                          <a:solidFill>
                            <a:schemeClr val="tx1"/>
                          </a:solidFill>
                          <a:latin typeface="Calibri" panose="020F0502020204030204" pitchFamily="34" charset="0"/>
                          <a:cs typeface="Calibri" panose="020F0502020204030204" pitchFamily="34" charset="0"/>
                        </a:rPr>
                        <a:t>Khả</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ă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ă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lự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phả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ứ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hanh</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để</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quả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lý</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cá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sự</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cố</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hằm</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ránh</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hiệt</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hại</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cho</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doanh</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ghiệp</a:t>
                      </a:r>
                      <a:endParaRPr lang="en-US" sz="15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dirty="0" err="1">
                          <a:solidFill>
                            <a:schemeClr val="tx1"/>
                          </a:solidFill>
                          <a:latin typeface="Calibri" panose="020F0502020204030204" pitchFamily="34" charset="0"/>
                          <a:cs typeface="Calibri" panose="020F0502020204030204" pitchFamily="34" charset="0"/>
                        </a:rPr>
                        <a:t>Khả</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ă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ă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lự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khôi</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phụ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hoặ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iếp</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ụ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sử</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dụ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cá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hệ</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hố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và</a:t>
                      </a:r>
                      <a:r>
                        <a:rPr lang="en-US" sz="1500" dirty="0">
                          <a:solidFill>
                            <a:schemeClr val="tx1"/>
                          </a:solidFill>
                          <a:latin typeface="Calibri" panose="020F0502020204030204" pitchFamily="34" charset="0"/>
                          <a:cs typeface="Calibri" panose="020F0502020204030204" pitchFamily="34" charset="0"/>
                        </a:rPr>
                        <a:t> c</a:t>
                      </a:r>
                      <a:r>
                        <a:rPr lang="vi-VN" sz="1500" dirty="0">
                          <a:solidFill>
                            <a:schemeClr val="tx1"/>
                          </a:solidFill>
                          <a:latin typeface="Calibri" panose="020F0502020204030204" pitchFamily="34" charset="0"/>
                          <a:cs typeface="Calibri" panose="020F0502020204030204" pitchFamily="34" charset="0"/>
                        </a:rPr>
                        <a:t>ơ</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sở</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hạ</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ầ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kỹ</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huật</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cốt</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yếu</a:t>
                      </a:r>
                      <a:endParaRPr lang="en-US" sz="1500" kern="1200" dirty="0">
                        <a:solidFill>
                          <a:schemeClr val="tx1"/>
                        </a:solidFill>
                        <a:latin typeface="Calibri" panose="020F0502020204030204" pitchFamily="34" charset="0"/>
                        <a:ea typeface="+mn-ea"/>
                        <a:cs typeface="Calibri" panose="020F0502020204030204" pitchFamily="34" charset="0"/>
                      </a:endParaRPr>
                    </a:p>
                  </a:txBody>
                  <a:tcPr marL="51435" marR="51435" marT="77153" marB="77153">
                    <a:lnL w="12700" cmpd="sng">
                      <a:noFill/>
                    </a:lnL>
                    <a:lnR w="12700" cmpd="sng">
                      <a:noFill/>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solidFill>
                            <a:schemeClr val="tx1"/>
                          </a:solidFill>
                          <a:latin typeface="Calibri" panose="020F0502020204030204" pitchFamily="34" charset="0"/>
                          <a:cs typeface="Calibri" panose="020F0502020204030204" pitchFamily="34" charset="0"/>
                        </a:rPr>
                        <a:t>Ch</a:t>
                      </a:r>
                      <a:r>
                        <a:rPr lang="vi-VN" sz="1500" dirty="0">
                          <a:solidFill>
                            <a:schemeClr val="tx1"/>
                          </a:solidFill>
                          <a:latin typeface="Calibri" panose="020F0502020204030204" pitchFamily="34" charset="0"/>
                          <a:cs typeface="Calibri" panose="020F0502020204030204" pitchFamily="34" charset="0"/>
                        </a:rPr>
                        <a:t>ư</a:t>
                      </a:r>
                      <a:r>
                        <a:rPr lang="en-US" sz="1500" dirty="0" err="1">
                          <a:solidFill>
                            <a:schemeClr val="tx1"/>
                          </a:solidFill>
                          <a:latin typeface="Calibri" panose="020F0502020204030204" pitchFamily="34" charset="0"/>
                          <a:cs typeface="Calibri" panose="020F0502020204030204" pitchFamily="34" charset="0"/>
                        </a:rPr>
                        <a:t>ơ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rình</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hằm</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xây</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dự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và</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riể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khai</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cá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hủ</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tục</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liê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qua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đế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giá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đoạn</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hoạt</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độ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kinh</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doanh</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hàng</a:t>
                      </a:r>
                      <a:r>
                        <a:rPr lang="en-US" sz="1500" dirty="0">
                          <a:solidFill>
                            <a:schemeClr val="tx1"/>
                          </a:solidFill>
                          <a:latin typeface="Calibri" panose="020F0502020204030204" pitchFamily="34" charset="0"/>
                          <a:cs typeface="Calibri" panose="020F0502020204030204" pitchFamily="34" charset="0"/>
                        </a:rPr>
                        <a:t> </a:t>
                      </a:r>
                      <a:r>
                        <a:rPr lang="en-US" sz="1500" dirty="0" err="1">
                          <a:solidFill>
                            <a:schemeClr val="tx1"/>
                          </a:solidFill>
                          <a:latin typeface="Calibri" panose="020F0502020204030204" pitchFamily="34" charset="0"/>
                          <a:cs typeface="Calibri" panose="020F0502020204030204" pitchFamily="34" charset="0"/>
                        </a:rPr>
                        <a:t>ngày</a:t>
                      </a:r>
                      <a:r>
                        <a:rPr lang="en-US" sz="1500" dirty="0">
                          <a:solidFill>
                            <a:schemeClr val="tx1"/>
                          </a:solidFill>
                          <a:latin typeface="Calibri" panose="020F0502020204030204" pitchFamily="34" charset="0"/>
                          <a:cs typeface="Calibri" panose="020F0502020204030204" pitchFamily="34" charset="0"/>
                        </a:rPr>
                        <a:t>.</a:t>
                      </a:r>
                    </a:p>
                  </a:txBody>
                  <a:tcPr marL="51435" marR="51435" marT="77153" marB="77153">
                    <a:lnL w="12700" cmpd="sng">
                      <a:noFill/>
                    </a:lnL>
                    <a:lnR w="12700" cmpd="sng">
                      <a:noFill/>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a:solidFill>
                            <a:schemeClr val="tx1"/>
                          </a:solidFill>
                          <a:latin typeface="Calibri" panose="020F0502020204030204" pitchFamily="34" charset="0"/>
                          <a:cs typeface="Calibri" panose="020F0502020204030204" pitchFamily="34" charset="0"/>
                        </a:rPr>
                        <a:t>Ch</a:t>
                      </a:r>
                      <a:r>
                        <a:rPr lang="vi-VN" sz="1500" b="0" dirty="0">
                          <a:solidFill>
                            <a:schemeClr val="tx1"/>
                          </a:solidFill>
                          <a:latin typeface="Calibri" panose="020F0502020204030204" pitchFamily="34" charset="0"/>
                          <a:cs typeface="Calibri" panose="020F0502020204030204" pitchFamily="34" charset="0"/>
                        </a:rPr>
                        <a:t>ư</a:t>
                      </a:r>
                      <a:r>
                        <a:rPr lang="en-US" sz="1500" b="0" dirty="0" err="1">
                          <a:solidFill>
                            <a:schemeClr val="tx1"/>
                          </a:solidFill>
                          <a:latin typeface="Calibri" panose="020F0502020204030204" pitchFamily="34" charset="0"/>
                          <a:cs typeface="Calibri" panose="020F0502020204030204" pitchFamily="34" charset="0"/>
                        </a:rPr>
                        <a:t>ơ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rình</a:t>
                      </a:r>
                      <a:r>
                        <a:rPr lang="en-US" sz="1500" b="0" dirty="0">
                          <a:solidFill>
                            <a:schemeClr val="tx1"/>
                          </a:solidFill>
                          <a:latin typeface="Calibri" panose="020F0502020204030204" pitchFamily="34" charset="0"/>
                          <a:cs typeface="Calibri" panose="020F0502020204030204" pitchFamily="34" charset="0"/>
                        </a:rPr>
                        <a:t> đ</a:t>
                      </a:r>
                      <a:r>
                        <a:rPr lang="vi-VN" sz="1500" b="0" dirty="0">
                          <a:solidFill>
                            <a:schemeClr val="tx1"/>
                          </a:solidFill>
                          <a:latin typeface="Calibri" panose="020F0502020204030204" pitchFamily="34" charset="0"/>
                          <a:cs typeface="Calibri" panose="020F0502020204030204" pitchFamily="34" charset="0"/>
                        </a:rPr>
                        <a:t>ư</a:t>
                      </a:r>
                      <a:r>
                        <a:rPr lang="en-US" sz="1500" b="0" dirty="0" err="1">
                          <a:solidFill>
                            <a:schemeClr val="tx1"/>
                          </a:solidFill>
                          <a:latin typeface="Calibri" panose="020F0502020204030204" pitchFamily="34" charset="0"/>
                          <a:cs typeface="Calibri" panose="020F0502020204030204" pitchFamily="34" charset="0"/>
                        </a:rPr>
                        <a:t>ợc</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xây</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dự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để</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sẵ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sà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quả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lý</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khủ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hoảng</a:t>
                      </a:r>
                      <a:r>
                        <a:rPr lang="en-US" sz="1500" b="0" dirty="0">
                          <a:solidFill>
                            <a:schemeClr val="tx1"/>
                          </a:solidFill>
                          <a:latin typeface="Calibri" panose="020F0502020204030204" pitchFamily="34" charset="0"/>
                          <a:cs typeface="Calibri" panose="020F0502020204030204" pitchFamily="34" charset="0"/>
                        </a:rPr>
                        <a:t> ở </a:t>
                      </a:r>
                      <a:r>
                        <a:rPr lang="en-US" sz="1500" b="0" dirty="0" err="1">
                          <a:solidFill>
                            <a:schemeClr val="tx1"/>
                          </a:solidFill>
                          <a:latin typeface="Calibri" panose="020F0502020204030204" pitchFamily="34" charset="0"/>
                          <a:cs typeface="Calibri" panose="020F0502020204030204" pitchFamily="34" charset="0"/>
                        </a:rPr>
                        <a:t>cấp</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độ</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công</a:t>
                      </a:r>
                      <a:r>
                        <a:rPr lang="en-US" sz="1500" b="0" dirty="0">
                          <a:solidFill>
                            <a:schemeClr val="tx1"/>
                          </a:solidFill>
                          <a:latin typeface="Calibri" panose="020F0502020204030204" pitchFamily="34" charset="0"/>
                          <a:cs typeface="Calibri" panose="020F0502020204030204" pitchFamily="34" charset="0"/>
                        </a:rPr>
                        <a:t> ty </a:t>
                      </a:r>
                      <a:r>
                        <a:rPr lang="en-US" sz="1500" b="0" dirty="0" err="1">
                          <a:solidFill>
                            <a:schemeClr val="tx1"/>
                          </a:solidFill>
                          <a:latin typeface="Calibri" panose="020F0502020204030204" pitchFamily="34" charset="0"/>
                          <a:cs typeface="Calibri" panose="020F0502020204030204" pitchFamily="34" charset="0"/>
                        </a:rPr>
                        <a:t>khi</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rủi</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ro</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rọ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yếu</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xảy</a:t>
                      </a:r>
                      <a:r>
                        <a:rPr lang="en-US" sz="1500" b="0" dirty="0">
                          <a:solidFill>
                            <a:schemeClr val="tx1"/>
                          </a:solidFill>
                          <a:latin typeface="Calibri" panose="020F0502020204030204" pitchFamily="34" charset="0"/>
                          <a:cs typeface="Calibri" panose="020F0502020204030204" pitchFamily="34" charset="0"/>
                        </a:rPr>
                        <a:t> ra. </a:t>
                      </a:r>
                      <a:r>
                        <a:rPr lang="en-US" sz="1500" b="0" dirty="0" err="1">
                          <a:solidFill>
                            <a:schemeClr val="tx1"/>
                          </a:solidFill>
                          <a:latin typeface="Calibri" panose="020F0502020204030204" pitchFamily="34" charset="0"/>
                          <a:cs typeface="Calibri" panose="020F0502020204030204" pitchFamily="34" charset="0"/>
                        </a:rPr>
                        <a:t>Một</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kế</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hoạch</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quả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lý</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ất</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cả</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các</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mối</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nguy</a:t>
                      </a:r>
                      <a:r>
                        <a:rPr lang="en-US" sz="1500" b="0" dirty="0">
                          <a:solidFill>
                            <a:schemeClr val="tx1"/>
                          </a:solidFill>
                          <a:latin typeface="Calibri" panose="020F0502020204030204" pitchFamily="34" charset="0"/>
                          <a:cs typeface="Calibri" panose="020F0502020204030204" pitchFamily="34" charset="0"/>
                        </a:rPr>
                        <a:t>”</a:t>
                      </a:r>
                    </a:p>
                  </a:txBody>
                  <a:tcPr marL="51435" marR="51435" marT="77153" marB="77153">
                    <a:lnL w="12700" cmpd="sng">
                      <a:noFill/>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1830630"/>
                  </a:ext>
                </a:extLst>
              </a:tr>
              <a:tr h="123721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0" i="0" dirty="0" err="1">
                          <a:solidFill>
                            <a:schemeClr val="tx1"/>
                          </a:solidFill>
                          <a:latin typeface="Calibri" panose="020F0502020204030204" pitchFamily="34" charset="0"/>
                          <a:cs typeface="Calibri" panose="020F0502020204030204" pitchFamily="34" charset="0"/>
                        </a:rPr>
                        <a:t>Mục</a:t>
                      </a:r>
                      <a:r>
                        <a:rPr lang="en-US" sz="1500" b="0" i="0" dirty="0">
                          <a:solidFill>
                            <a:schemeClr val="tx1"/>
                          </a:solidFill>
                          <a:latin typeface="Calibri" panose="020F0502020204030204" pitchFamily="34" charset="0"/>
                          <a:cs typeface="Calibri" panose="020F0502020204030204" pitchFamily="34" charset="0"/>
                        </a:rPr>
                        <a:t> </a:t>
                      </a:r>
                      <a:r>
                        <a:rPr lang="en-US" sz="1500" b="0" i="0" dirty="0" err="1">
                          <a:solidFill>
                            <a:schemeClr val="tx1"/>
                          </a:solidFill>
                          <a:latin typeface="Calibri" panose="020F0502020204030204" pitchFamily="34" charset="0"/>
                          <a:cs typeface="Calibri" panose="020F0502020204030204" pitchFamily="34" charset="0"/>
                        </a:rPr>
                        <a:t>tiêu</a:t>
                      </a:r>
                      <a:endParaRPr lang="en-US" sz="1500" b="0" i="0" dirty="0">
                        <a:solidFill>
                          <a:schemeClr val="tx1"/>
                        </a:solidFill>
                        <a:latin typeface="Calibri" panose="020F0502020204030204" pitchFamily="34" charset="0"/>
                        <a:cs typeface="Calibri" panose="020F0502020204030204" pitchFamily="34" charset="0"/>
                      </a:endParaRPr>
                    </a:p>
                  </a:txBody>
                  <a:tcPr marL="51435" marR="51435" marT="77153" marB="77153" vert="vert270"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D0D0C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baseline="0" dirty="0" err="1">
                          <a:solidFill>
                            <a:schemeClr val="tx1"/>
                          </a:solidFill>
                          <a:latin typeface="Calibri" panose="020F0502020204030204" pitchFamily="34" charset="0"/>
                          <a:cs typeface="Calibri" panose="020F0502020204030204" pitchFamily="34" charset="0"/>
                        </a:rPr>
                        <a:t>Cân</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bằng</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giữ</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rủi</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ro</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và</a:t>
                      </a:r>
                      <a:r>
                        <a:rPr lang="en-US" sz="1500" b="0" baseline="0" dirty="0">
                          <a:solidFill>
                            <a:schemeClr val="tx1"/>
                          </a:solidFill>
                          <a:latin typeface="Calibri" panose="020F0502020204030204" pitchFamily="34" charset="0"/>
                          <a:cs typeface="Calibri" panose="020F0502020204030204" pitchFamily="34" charset="0"/>
                        </a:rPr>
                        <a:t> c</a:t>
                      </a:r>
                      <a:r>
                        <a:rPr lang="vi-VN" sz="1500" b="0" baseline="0" dirty="0">
                          <a:solidFill>
                            <a:schemeClr val="tx1"/>
                          </a:solidFill>
                          <a:latin typeface="Calibri" panose="020F0502020204030204" pitchFamily="34" charset="0"/>
                          <a:cs typeface="Calibri" panose="020F0502020204030204" pitchFamily="34" charset="0"/>
                        </a:rPr>
                        <a:t>ơ</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hội</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để</a:t>
                      </a:r>
                      <a:r>
                        <a:rPr lang="en-US" sz="1500" b="0" baseline="0" dirty="0">
                          <a:solidFill>
                            <a:schemeClr val="tx1"/>
                          </a:solidFill>
                          <a:latin typeface="Calibri" panose="020F0502020204030204" pitchFamily="34" charset="0"/>
                          <a:cs typeface="Calibri" panose="020F0502020204030204" pitchFamily="34" charset="0"/>
                        </a:rPr>
                        <a:t> h</a:t>
                      </a:r>
                      <a:r>
                        <a:rPr lang="vi-VN" sz="1500" b="0" baseline="0" dirty="0">
                          <a:solidFill>
                            <a:schemeClr val="tx1"/>
                          </a:solidFill>
                          <a:latin typeface="Calibri" panose="020F0502020204030204" pitchFamily="34" charset="0"/>
                          <a:cs typeface="Calibri" panose="020F0502020204030204" pitchFamily="34" charset="0"/>
                        </a:rPr>
                        <a:t>ư</a:t>
                      </a:r>
                      <a:r>
                        <a:rPr lang="en-US" sz="1500" b="0" baseline="0" dirty="0" err="1">
                          <a:solidFill>
                            <a:schemeClr val="tx1"/>
                          </a:solidFill>
                          <a:latin typeface="Calibri" panose="020F0502020204030204" pitchFamily="34" charset="0"/>
                          <a:cs typeface="Calibri" panose="020F0502020204030204" pitchFamily="34" charset="0"/>
                        </a:rPr>
                        <a:t>ớng</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tới</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hoàn</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thành</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mục</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tiêu</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của</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doanh</a:t>
                      </a:r>
                      <a:r>
                        <a:rPr lang="en-US" sz="1500" b="0" baseline="0" dirty="0">
                          <a:solidFill>
                            <a:schemeClr val="tx1"/>
                          </a:solidFill>
                          <a:latin typeface="Calibri" panose="020F0502020204030204" pitchFamily="34" charset="0"/>
                          <a:cs typeface="Calibri" panose="020F0502020204030204" pitchFamily="34" charset="0"/>
                        </a:rPr>
                        <a:t> </a:t>
                      </a:r>
                      <a:r>
                        <a:rPr lang="en-US" sz="1500" b="0" baseline="0" dirty="0" err="1">
                          <a:solidFill>
                            <a:schemeClr val="tx1"/>
                          </a:solidFill>
                          <a:latin typeface="Calibri" panose="020F0502020204030204" pitchFamily="34" charset="0"/>
                          <a:cs typeface="Calibri" panose="020F0502020204030204" pitchFamily="34" charset="0"/>
                        </a:rPr>
                        <a:t>nghiệp</a:t>
                      </a:r>
                      <a:endParaRPr lang="en-US" sz="1500" b="0" i="1" dirty="0">
                        <a:solidFill>
                          <a:schemeClr val="tx1"/>
                        </a:solidFill>
                        <a:latin typeface="Calibri" panose="020F0502020204030204" pitchFamily="34" charset="0"/>
                        <a:cs typeface="Calibri" panose="020F0502020204030204" pitchFamily="34" charset="0"/>
                      </a:endParaRPr>
                    </a:p>
                  </a:txBody>
                  <a:tcPr marL="51435" marR="51435" marT="77153" marB="77153">
                    <a:lnL w="12700" cap="flat" cmpd="sng" algn="ctr">
                      <a:solidFill>
                        <a:srgbClr val="53565A"/>
                      </a:solid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dirty="0" err="1">
                          <a:latin typeface="Calibri" panose="020F0502020204030204" pitchFamily="34" charset="0"/>
                          <a:cs typeface="Calibri" panose="020F0502020204030204" pitchFamily="34" charset="0"/>
                        </a:rPr>
                        <a:t>Kiểm</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soá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iệu</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quả</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ác</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sự</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ố</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để</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giảm</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hiệ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ại</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mộ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á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ố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nhất</a:t>
                      </a:r>
                      <a:endParaRPr lang="en-US" sz="15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baseline="0" dirty="0" err="1">
                          <a:latin typeface="Calibri" panose="020F0502020204030204" pitchFamily="34" charset="0"/>
                          <a:cs typeface="Calibri" panose="020F0502020204030204" pitchFamily="34" charset="0"/>
                        </a:rPr>
                        <a:t>Nhanh</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chóng</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khôi</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phụ</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và</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bảo</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hệ</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hạ</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ầng</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về</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công</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nghệ</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hông</a:t>
                      </a:r>
                      <a:r>
                        <a:rPr lang="en-US" sz="1500" baseline="0" dirty="0">
                          <a:latin typeface="Calibri" panose="020F0502020204030204" pitchFamily="34" charset="0"/>
                          <a:cs typeface="Calibri" panose="020F0502020204030204" pitchFamily="34" charset="0"/>
                        </a:rPr>
                        <a:t> tin</a:t>
                      </a:r>
                      <a:endParaRPr lang="en-US" sz="15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500" dirty="0" err="1">
                          <a:latin typeface="Calibri" panose="020F0502020204030204" pitchFamily="34" charset="0"/>
                          <a:cs typeface="Calibri" panose="020F0502020204030204" pitchFamily="34" charset="0"/>
                        </a:rPr>
                        <a:t>Khôi</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phục</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nhan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ác</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ạ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độ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à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ngày</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khi</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ác</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sự</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ố</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ro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ạ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độ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kin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doan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xảy</a:t>
                      </a:r>
                      <a:r>
                        <a:rPr lang="en-US" sz="1500" dirty="0">
                          <a:latin typeface="Calibri" panose="020F0502020204030204" pitchFamily="34" charset="0"/>
                          <a:cs typeface="Calibri" panose="020F0502020204030204" pitchFamily="34" charset="0"/>
                        </a:rPr>
                        <a:t> ra</a:t>
                      </a:r>
                      <a:endParaRPr lang="en-US" sz="15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dirty="0" err="1">
                          <a:solidFill>
                            <a:schemeClr val="tx1"/>
                          </a:solidFill>
                          <a:latin typeface="Calibri" panose="020F0502020204030204" pitchFamily="34" charset="0"/>
                          <a:cs typeface="Calibri" panose="020F0502020204030204" pitchFamily="34" charset="0"/>
                        </a:rPr>
                        <a:t>Phản</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ứ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lại</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các</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mối</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nguy</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để</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bảo</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vệ</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duy</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rì</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giá</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rị</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và</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th</a:t>
                      </a:r>
                      <a:r>
                        <a:rPr lang="vi-VN" sz="1500" b="0" dirty="0">
                          <a:solidFill>
                            <a:schemeClr val="tx1"/>
                          </a:solidFill>
                          <a:latin typeface="Calibri" panose="020F0502020204030204" pitchFamily="34" charset="0"/>
                          <a:cs typeface="Calibri" panose="020F0502020204030204" pitchFamily="34" charset="0"/>
                        </a:rPr>
                        <a:t>ư</a:t>
                      </a:r>
                      <a:r>
                        <a:rPr lang="en-US" sz="1500" b="0" dirty="0" err="1">
                          <a:solidFill>
                            <a:schemeClr val="tx1"/>
                          </a:solidFill>
                          <a:latin typeface="Calibri" panose="020F0502020204030204" pitchFamily="34" charset="0"/>
                          <a:cs typeface="Calibri" panose="020F0502020204030204" pitchFamily="34" charset="0"/>
                        </a:rPr>
                        <a:t>ơng</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hiệu</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doanh</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nghiệp</a:t>
                      </a:r>
                      <a:endParaRPr lang="en-US" sz="1500" b="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ap="flat" cmpd="sng" algn="ctr">
                      <a:solidFill>
                        <a:srgbClr val="53565A"/>
                      </a:solid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6747670"/>
                  </a:ext>
                </a:extLst>
              </a:tr>
              <a:tr h="1456861">
                <a:tc>
                  <a:txBody>
                    <a:bodyPr/>
                    <a:lstStyle/>
                    <a:p>
                      <a:pPr marL="0" indent="0" algn="ctr">
                        <a:buFont typeface="Arial" panose="020B0604020202020204" pitchFamily="34" charset="0"/>
                        <a:buNone/>
                      </a:pPr>
                      <a:r>
                        <a:rPr lang="en-US" sz="1500" b="0" i="0" baseline="0" dirty="0" err="1">
                          <a:latin typeface="Calibri" panose="020F0502020204030204" pitchFamily="34" charset="0"/>
                          <a:cs typeface="Calibri" panose="020F0502020204030204" pitchFamily="34" charset="0"/>
                        </a:rPr>
                        <a:t>Hoạt</a:t>
                      </a:r>
                      <a:r>
                        <a:rPr lang="en-US" sz="1500" b="0" i="0" baseline="0" dirty="0">
                          <a:latin typeface="Calibri" panose="020F0502020204030204" pitchFamily="34" charset="0"/>
                          <a:cs typeface="Calibri" panose="020F0502020204030204" pitchFamily="34" charset="0"/>
                        </a:rPr>
                        <a:t> </a:t>
                      </a:r>
                      <a:r>
                        <a:rPr lang="en-US" sz="1500" b="0" i="0" baseline="0" dirty="0" err="1">
                          <a:latin typeface="Calibri" panose="020F0502020204030204" pitchFamily="34" charset="0"/>
                          <a:cs typeface="Calibri" panose="020F0502020204030204" pitchFamily="34" charset="0"/>
                        </a:rPr>
                        <a:t>động</a:t>
                      </a:r>
                      <a:endParaRPr lang="en-US" sz="1500" b="0" i="0" baseline="0" dirty="0">
                        <a:latin typeface="Calibri" panose="020F0502020204030204" pitchFamily="34" charset="0"/>
                        <a:cs typeface="Calibri" panose="020F0502020204030204" pitchFamily="34" charset="0"/>
                      </a:endParaRPr>
                    </a:p>
                  </a:txBody>
                  <a:tcPr marL="51435" marR="51435" marT="77153" marB="77153" vert="vert270"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D0D0CE"/>
                    </a:solidFill>
                  </a:tcPr>
                </a:tc>
                <a:tc>
                  <a:txBody>
                    <a:bodyPr/>
                    <a:lstStyle/>
                    <a:p>
                      <a:pPr marL="91440" indent="-91440">
                        <a:buFont typeface="Arial" panose="020B0604020202020204" pitchFamily="34" charset="0"/>
                        <a:buChar char="•"/>
                      </a:pPr>
                      <a:r>
                        <a:rPr lang="en-US" sz="1500" baseline="0" dirty="0" err="1">
                          <a:latin typeface="Calibri" panose="020F0502020204030204" pitchFamily="34" charset="0"/>
                          <a:cs typeface="Calibri" panose="020F0502020204030204" pitchFamily="34" charset="0"/>
                        </a:rPr>
                        <a:t>Nhận</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diện</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rủi</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ro</a:t>
                      </a:r>
                      <a:endParaRPr lang="en-US" sz="1500" baseline="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500" baseline="0" dirty="0" err="1">
                          <a:latin typeface="Calibri" panose="020F0502020204030204" pitchFamily="34" charset="0"/>
                          <a:cs typeface="Calibri" panose="020F0502020204030204" pitchFamily="34" charset="0"/>
                        </a:rPr>
                        <a:t>Xây</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dựng</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mức</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độ</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chấp</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nhận</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rủi</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ro</a:t>
                      </a:r>
                      <a:endParaRPr lang="en-US" sz="1500" baseline="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500" baseline="0" dirty="0" err="1">
                          <a:latin typeface="Calibri" panose="020F0502020204030204" pitchFamily="34" charset="0"/>
                          <a:cs typeface="Calibri" panose="020F0502020204030204" pitchFamily="34" charset="0"/>
                        </a:rPr>
                        <a:t>Quản</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rị</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rủi</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ro</a:t>
                      </a:r>
                      <a:endParaRPr lang="en-US" sz="1500" baseline="0" dirty="0">
                        <a:latin typeface="Calibri" panose="020F0502020204030204" pitchFamily="34" charset="0"/>
                        <a:cs typeface="Calibri" panose="020F0502020204030204" pitchFamily="34" charset="0"/>
                      </a:endParaRPr>
                    </a:p>
                  </a:txBody>
                  <a:tcPr marL="51435" marR="51435" marT="77153" marB="77153">
                    <a:lnL w="12700" cap="flat" cmpd="sng" algn="ctr">
                      <a:solidFill>
                        <a:srgbClr val="53565A"/>
                      </a:solid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500" dirty="0" err="1">
                          <a:latin typeface="Calibri" panose="020F0502020204030204" pitchFamily="34" charset="0"/>
                          <a:cs typeface="Calibri" panose="020F0502020204030204" pitchFamily="34" charset="0"/>
                        </a:rPr>
                        <a:t>Kế</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ạ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quản</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lý</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sự</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ố</a:t>
                      </a:r>
                      <a:endParaRPr lang="en-US" sz="150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500" dirty="0" err="1">
                          <a:latin typeface="Calibri" panose="020F0502020204030204" pitchFamily="34" charset="0"/>
                          <a:cs typeface="Calibri" panose="020F0502020204030204" pitchFamily="34" charset="0"/>
                        </a:rPr>
                        <a:t>Bảo</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rì</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ệ</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hống</a:t>
                      </a:r>
                      <a:r>
                        <a:rPr lang="en-US" sz="1500" baseline="0" dirty="0">
                          <a:latin typeface="Calibri" panose="020F0502020204030204" pitchFamily="34" charset="0"/>
                          <a:cs typeface="Calibri" panose="020F0502020204030204" pitchFamily="34" charset="0"/>
                        </a:rPr>
                        <a:t> ….</a:t>
                      </a:r>
                      <a:endParaRPr lang="en-US" sz="1500" dirty="0">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500" dirty="0" err="1">
                          <a:latin typeface="Calibri" panose="020F0502020204030204" pitchFamily="34" charset="0"/>
                          <a:cs typeface="Calibri" panose="020F0502020204030204" pitchFamily="34" charset="0"/>
                        </a:rPr>
                        <a:t>Dan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sá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các</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ạ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mục</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khôi</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phục</a:t>
                      </a:r>
                      <a:endParaRPr lang="en-US" sz="150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500" baseline="0" dirty="0" err="1">
                          <a:latin typeface="Calibri" panose="020F0502020204030204" pitchFamily="34" charset="0"/>
                          <a:cs typeface="Calibri" panose="020F0502020204030204" pitchFamily="34" charset="0"/>
                        </a:rPr>
                        <a:t>Thực</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hiện</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các</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ình</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huống</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sự</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cố</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giả</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lập</a:t>
                      </a:r>
                      <a:endParaRPr lang="en-US" sz="1500" dirty="0">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500" dirty="0" err="1">
                          <a:latin typeface="Calibri" panose="020F0502020204030204" pitchFamily="34" charset="0"/>
                          <a:cs typeface="Calibri" panose="020F0502020204030204" pitchFamily="34" charset="0"/>
                        </a:rPr>
                        <a:t>Phân</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í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ảnh</a:t>
                      </a:r>
                      <a:r>
                        <a:rPr lang="en-US" sz="1500" dirty="0">
                          <a:latin typeface="Calibri" panose="020F0502020204030204" pitchFamily="34" charset="0"/>
                          <a:cs typeface="Calibri" panose="020F0502020204030204" pitchFamily="34" charset="0"/>
                        </a:rPr>
                        <a:t> h</a:t>
                      </a:r>
                      <a:r>
                        <a:rPr lang="vi-VN" sz="1500" dirty="0">
                          <a:latin typeface="Calibri" panose="020F0502020204030204" pitchFamily="34" charset="0"/>
                          <a:cs typeface="Calibri" panose="020F0502020204030204" pitchFamily="34" charset="0"/>
                        </a:rPr>
                        <a:t>ư</a:t>
                      </a:r>
                      <a:r>
                        <a:rPr lang="en-US" sz="1500" dirty="0" err="1">
                          <a:latin typeface="Calibri" panose="020F0502020204030204" pitchFamily="34" charset="0"/>
                          <a:cs typeface="Calibri" panose="020F0502020204030204" pitchFamily="34" charset="0"/>
                        </a:rPr>
                        <a:t>ở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đến</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ạt</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độ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kin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doanh</a:t>
                      </a:r>
                      <a:endParaRPr lang="en-US" sz="1500" baseline="0" dirty="0">
                        <a:latin typeface="Calibri" panose="020F0502020204030204" pitchFamily="34" charset="0"/>
                        <a:cs typeface="Calibri" panose="020F0502020204030204" pitchFamily="34" charset="0"/>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err="1">
                          <a:latin typeface="Calibri" panose="020F0502020204030204" pitchFamily="34" charset="0"/>
                          <a:cs typeface="Calibri" panose="020F0502020204030204" pitchFamily="34" charset="0"/>
                        </a:rPr>
                        <a:t>Kế</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hoạch</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khôi</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phục</a:t>
                      </a:r>
                      <a:endParaRPr lang="en-US" sz="1500" baseline="0" dirty="0">
                        <a:latin typeface="Calibri" panose="020F0502020204030204" pitchFamily="34" charset="0"/>
                        <a:cs typeface="Calibri" panose="020F0502020204030204" pitchFamily="34" charset="0"/>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aseline="0" dirty="0" err="1">
                          <a:latin typeface="Calibri" panose="020F0502020204030204" pitchFamily="34" charset="0"/>
                          <a:cs typeface="Calibri" panose="020F0502020204030204" pitchFamily="34" charset="0"/>
                        </a:rPr>
                        <a:t>Đào</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ạo</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và</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hực</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tập</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các</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giả</a:t>
                      </a:r>
                      <a:r>
                        <a:rPr lang="en-US" sz="1500" baseline="0" dirty="0">
                          <a:latin typeface="Calibri" panose="020F0502020204030204" pitchFamily="34" charset="0"/>
                          <a:cs typeface="Calibri" panose="020F0502020204030204" pitchFamily="34" charset="0"/>
                        </a:rPr>
                        <a:t> </a:t>
                      </a:r>
                      <a:r>
                        <a:rPr lang="en-US" sz="1500" baseline="0" dirty="0" err="1">
                          <a:latin typeface="Calibri" panose="020F0502020204030204" pitchFamily="34" charset="0"/>
                          <a:cs typeface="Calibri" panose="020F0502020204030204" pitchFamily="34" charset="0"/>
                        </a:rPr>
                        <a:t>định</a:t>
                      </a:r>
                      <a:endParaRPr lang="en-US" sz="1500" baseline="0" dirty="0">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err="1">
                          <a:latin typeface="Calibri" panose="020F0502020204030204" pitchFamily="34" charset="0"/>
                          <a:cs typeface="Calibri" panose="020F0502020204030204" pitchFamily="34" charset="0"/>
                        </a:rPr>
                        <a:t>Kế</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ạ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đối</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phó</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với</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khủ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ảng</a:t>
                      </a:r>
                      <a:endParaRPr lang="en-US" sz="1500" dirty="0">
                        <a:latin typeface="Calibri" panose="020F0502020204030204" pitchFamily="34" charset="0"/>
                        <a:cs typeface="Calibri" panose="020F0502020204030204" pitchFamily="34" charset="0"/>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err="1">
                          <a:latin typeface="Calibri" panose="020F0502020204030204" pitchFamily="34" charset="0"/>
                          <a:cs typeface="Calibri" panose="020F0502020204030204" pitchFamily="34" charset="0"/>
                        </a:rPr>
                        <a:t>Kế</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ạ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dự</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phòng</a:t>
                      </a:r>
                      <a:r>
                        <a:rPr lang="en-US" sz="1500" dirty="0">
                          <a:latin typeface="Calibri" panose="020F0502020204030204" pitchFamily="34" charset="0"/>
                          <a:cs typeface="Calibri" panose="020F0502020204030204" pitchFamily="34" charset="0"/>
                        </a:rPr>
                        <a:t> </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dirty="0" err="1">
                          <a:latin typeface="Calibri" panose="020F0502020204030204" pitchFamily="34" charset="0"/>
                          <a:cs typeface="Calibri" panose="020F0502020204030204" pitchFamily="34" charset="0"/>
                        </a:rPr>
                        <a:t>Phân</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tích</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giả</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lập</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khủng</a:t>
                      </a:r>
                      <a:r>
                        <a:rPr lang="en-US" sz="1500" dirty="0">
                          <a:latin typeface="Calibri" panose="020F0502020204030204" pitchFamily="34" charset="0"/>
                          <a:cs typeface="Calibri" panose="020F0502020204030204" pitchFamily="34" charset="0"/>
                        </a:rPr>
                        <a:t> </a:t>
                      </a:r>
                      <a:r>
                        <a:rPr lang="en-US" sz="1500" dirty="0" err="1">
                          <a:latin typeface="Calibri" panose="020F0502020204030204" pitchFamily="34" charset="0"/>
                          <a:cs typeface="Calibri" panose="020F0502020204030204" pitchFamily="34" charset="0"/>
                        </a:rPr>
                        <a:t>hoảng</a:t>
                      </a:r>
                      <a:endParaRPr lang="en-US" sz="1500" dirty="0">
                        <a:latin typeface="Calibri" panose="020F0502020204030204" pitchFamily="34" charset="0"/>
                        <a:cs typeface="Calibri" panose="020F0502020204030204" pitchFamily="34" charset="0"/>
                      </a:endParaRPr>
                    </a:p>
                  </a:txBody>
                  <a:tcPr marL="51435" marR="51435" marT="77153" marB="77153">
                    <a:lnL w="12700" cmpd="sng">
                      <a:noFill/>
                    </a:lnL>
                    <a:lnR w="12700" cap="flat" cmpd="sng" algn="ctr">
                      <a:solidFill>
                        <a:srgbClr val="53565A"/>
                      </a:solidFill>
                      <a:prstDash val="solid"/>
                      <a:round/>
                      <a:headEnd type="none" w="med" len="med"/>
                      <a:tailEnd type="none" w="med" len="med"/>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2958174"/>
                  </a:ext>
                </a:extLst>
              </a:tr>
            </a:tbl>
          </a:graphicData>
        </a:graphic>
      </p:graphicFrame>
      <p:sp>
        <p:nvSpPr>
          <p:cNvPr id="40" name="Slide Number Placeholder 4">
            <a:extLst>
              <a:ext uri="{FF2B5EF4-FFF2-40B4-BE49-F238E27FC236}">
                <a16:creationId xmlns:a16="http://schemas.microsoft.com/office/drawing/2014/main" id="{68E065E4-6559-417E-92AF-E8BA3C883D13}"/>
              </a:ext>
            </a:extLst>
          </p:cNvPr>
          <p:cNvSpPr txBox="1">
            <a:spLocks/>
          </p:cNvSpPr>
          <p:nvPr/>
        </p:nvSpPr>
        <p:spPr>
          <a:xfrm>
            <a:off x="9178308" y="6493758"/>
            <a:ext cx="27432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E0061DA-2F6B-4ADA-B8FE-B75E3EF3D641}" type="slidenum">
              <a:rPr kumimoji="0" lang="en-US" sz="1000" b="0" i="0" u="none" strike="noStrike" kern="1200" cap="none" spc="0" normalizeH="0" baseline="0" noProof="0" smtClean="0">
                <a:ln>
                  <a:noFill/>
                </a:ln>
                <a:solidFill>
                  <a:prstClr val="white">
                    <a:lumMod val="65000"/>
                  </a:prstClr>
                </a:solidFill>
                <a:effectLst/>
                <a:uLnTx/>
                <a:uFillTx/>
                <a:latin typeface="Calibri Light" panose="020F0302020204030204" pitchFamily="34" charset="0"/>
                <a:cs typeface="Calibri Light" panose="020F030202020403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prstClr val="white">
                  <a:lumMod val="65000"/>
                </a:prstClr>
              </a:solidFill>
              <a:effectLst/>
              <a:uLnTx/>
              <a:uFillTx/>
              <a:latin typeface="Calibri Light" panose="020F0302020204030204" pitchFamily="34" charset="0"/>
              <a:cs typeface="Calibri Light" panose="020F0302020204030204" pitchFamily="34" charset="0"/>
            </a:endParaRPr>
          </a:p>
        </p:txBody>
      </p:sp>
      <p:grpSp>
        <p:nvGrpSpPr>
          <p:cNvPr id="41" name="Group 40">
            <a:extLst>
              <a:ext uri="{FF2B5EF4-FFF2-40B4-BE49-F238E27FC236}">
                <a16:creationId xmlns:a16="http://schemas.microsoft.com/office/drawing/2014/main" id="{9B719517-D9BF-4A40-BF78-0C0C13036BFD}"/>
              </a:ext>
            </a:extLst>
          </p:cNvPr>
          <p:cNvGrpSpPr>
            <a:grpSpLocks noChangeAspect="1"/>
          </p:cNvGrpSpPr>
          <p:nvPr/>
        </p:nvGrpSpPr>
        <p:grpSpPr>
          <a:xfrm>
            <a:off x="460541" y="267937"/>
            <a:ext cx="1819109" cy="345828"/>
            <a:chOff x="398463" y="404813"/>
            <a:chExt cx="1627187" cy="307976"/>
          </a:xfrm>
          <a:solidFill>
            <a:schemeClr val="tx1"/>
          </a:solidFill>
        </p:grpSpPr>
        <p:sp>
          <p:nvSpPr>
            <p:cNvPr id="42" name="Oval 41">
              <a:extLst>
                <a:ext uri="{FF2B5EF4-FFF2-40B4-BE49-F238E27FC236}">
                  <a16:creationId xmlns:a16="http://schemas.microsoft.com/office/drawing/2014/main" id="{4EAFD6C0-83FC-4A60-8B37-90CE83640BE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3" name="Freeform 6">
              <a:extLst>
                <a:ext uri="{FF2B5EF4-FFF2-40B4-BE49-F238E27FC236}">
                  <a16:creationId xmlns:a16="http://schemas.microsoft.com/office/drawing/2014/main" id="{97409746-4F88-4B15-8B5F-F687ECE1972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4" name="Rectangle 43">
              <a:extLst>
                <a:ext uri="{FF2B5EF4-FFF2-40B4-BE49-F238E27FC236}">
                  <a16:creationId xmlns:a16="http://schemas.microsoft.com/office/drawing/2014/main" id="{33C602AB-FC52-4740-A855-A6D12A98B5D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10DB3957-5888-4A76-BB45-978A485A41E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45">
              <a:extLst>
                <a:ext uri="{FF2B5EF4-FFF2-40B4-BE49-F238E27FC236}">
                  <a16:creationId xmlns:a16="http://schemas.microsoft.com/office/drawing/2014/main" id="{FA51DEF3-4CB2-4E88-9C80-E1E7BC44CF4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46">
              <a:extLst>
                <a:ext uri="{FF2B5EF4-FFF2-40B4-BE49-F238E27FC236}">
                  <a16:creationId xmlns:a16="http://schemas.microsoft.com/office/drawing/2014/main" id="{BFA4FE60-BF9E-46A4-AF73-FB316EEC98C2}"/>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1A1CDA91-8ED7-4E24-A229-1B1166E3405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B65F8E5A-078F-46F0-8BC7-E8C843DB9AB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BD03ACF1-91E0-4E36-A0F5-F643A29A827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1EF74809-76B6-4DB2-B27F-CB27488019E1}"/>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52" name="Picture 51" descr="A picture containing text, vector graphics, fan, device&#10;&#10;Description automatically generated">
            <a:extLst>
              <a:ext uri="{FF2B5EF4-FFF2-40B4-BE49-F238E27FC236}">
                <a16:creationId xmlns:a16="http://schemas.microsoft.com/office/drawing/2014/main" id="{F38BB334-B383-43F5-B982-5862C11811C4}"/>
              </a:ext>
            </a:extLst>
          </p:cNvPr>
          <p:cNvPicPr>
            <a:picLocks noChangeAspect="1"/>
          </p:cNvPicPr>
          <p:nvPr/>
        </p:nvPicPr>
        <p:blipFill>
          <a:blip r:embed="rId3"/>
          <a:stretch>
            <a:fillRect/>
          </a:stretch>
        </p:blipFill>
        <p:spPr>
          <a:xfrm>
            <a:off x="10421786" y="208439"/>
            <a:ext cx="1547608" cy="895983"/>
          </a:xfrm>
          <a:prstGeom prst="rect">
            <a:avLst/>
          </a:prstGeom>
        </p:spPr>
      </p:pic>
      <p:sp>
        <p:nvSpPr>
          <p:cNvPr id="55" name="Text Placeholder 4">
            <a:extLst>
              <a:ext uri="{FF2B5EF4-FFF2-40B4-BE49-F238E27FC236}">
                <a16:creationId xmlns:a16="http://schemas.microsoft.com/office/drawing/2014/main" id="{ECBCBA53-C480-4E41-8407-9E4DC0320AEC}"/>
              </a:ext>
            </a:extLst>
          </p:cNvPr>
          <p:cNvSpPr>
            <a:spLocks noGrp="1"/>
          </p:cNvSpPr>
          <p:nvPr>
            <p:ph type="body" sz="quarter" idx="13"/>
          </p:nvPr>
        </p:nvSpPr>
        <p:spPr>
          <a:xfrm>
            <a:off x="316284" y="1109983"/>
            <a:ext cx="11176175" cy="485096"/>
          </a:xfrm>
        </p:spPr>
        <p:txBody>
          <a:bodyPr/>
          <a:lstStyle/>
          <a:p>
            <a:r>
              <a:rPr lang="en-US" dirty="0">
                <a:solidFill>
                  <a:srgbClr val="00B050"/>
                </a:solidFill>
                <a:latin typeface="+mj-lt"/>
                <a:cs typeface="Calibri Light" panose="020F0302020204030204" pitchFamily="34" charset="0"/>
              </a:rPr>
              <a:t>    </a:t>
            </a:r>
            <a:r>
              <a:rPr lang="en-US" sz="2400" b="1" dirty="0" err="1">
                <a:solidFill>
                  <a:schemeClr val="accent1"/>
                </a:solidFill>
                <a:latin typeface="+mj-lt"/>
                <a:cs typeface="Calibri Light" panose="020F0302020204030204" pitchFamily="34" charset="0"/>
              </a:rPr>
              <a:t>Doanh</a:t>
            </a:r>
            <a:r>
              <a:rPr lang="en-US" sz="2400" b="1" dirty="0">
                <a:solidFill>
                  <a:schemeClr val="accent1"/>
                </a:solidFill>
                <a:latin typeface="+mj-lt"/>
                <a:cs typeface="Calibri Light" panose="020F0302020204030204" pitchFamily="34" charset="0"/>
              </a:rPr>
              <a:t> </a:t>
            </a:r>
            <a:r>
              <a:rPr lang="en-US" sz="2400" b="1" dirty="0" err="1">
                <a:solidFill>
                  <a:schemeClr val="accent1"/>
                </a:solidFill>
                <a:latin typeface="+mj-lt"/>
                <a:cs typeface="Calibri Light" panose="020F0302020204030204" pitchFamily="34" charset="0"/>
              </a:rPr>
              <a:t>nghiệp</a:t>
            </a:r>
            <a:r>
              <a:rPr lang="en-US" sz="2400" b="1" dirty="0">
                <a:solidFill>
                  <a:schemeClr val="accent1"/>
                </a:solidFill>
                <a:latin typeface="+mj-lt"/>
                <a:cs typeface="Calibri Light" panose="020F0302020204030204" pitchFamily="34" charset="0"/>
              </a:rPr>
              <a:t> </a:t>
            </a:r>
            <a:r>
              <a:rPr lang="vi-VN" sz="2400" b="1" dirty="0">
                <a:solidFill>
                  <a:schemeClr val="accent1"/>
                </a:solidFill>
                <a:latin typeface="+mj-lt"/>
                <a:cs typeface="Calibri Light" panose="020F0302020204030204" pitchFamily="34" charset="0"/>
              </a:rPr>
              <a:t>cần có cái nhìn toàn diện hơn về Quản trị rủi ro </a:t>
            </a:r>
            <a:r>
              <a:rPr lang="vi-VN" sz="2400" b="1">
                <a:solidFill>
                  <a:schemeClr val="accent1"/>
                </a:solidFill>
                <a:latin typeface="+mj-lt"/>
                <a:cs typeface="Calibri Light" panose="020F0302020204030204" pitchFamily="34" charset="0"/>
              </a:rPr>
              <a:t>và </a:t>
            </a:r>
            <a:r>
              <a:rPr lang="en-US" sz="2400" b="1">
                <a:solidFill>
                  <a:schemeClr val="accent1"/>
                </a:solidFill>
                <a:latin typeface="+mj-lt"/>
                <a:cs typeface="Calibri Light" panose="020F0302020204030204" pitchFamily="34" charset="0"/>
              </a:rPr>
              <a:t>Quản trị khủng hoảng</a:t>
            </a:r>
            <a:endParaRPr lang="en-US" sz="2400" b="1" dirty="0">
              <a:solidFill>
                <a:schemeClr val="accent1"/>
              </a:solidFill>
              <a:latin typeface="+mj-lt"/>
              <a:cs typeface="Calibri Light" panose="020F0302020204030204" pitchFamily="34" charset="0"/>
            </a:endParaRPr>
          </a:p>
          <a:p>
            <a:endParaRPr lang="en-GB" dirty="0">
              <a:latin typeface="+mj-lt"/>
              <a:cs typeface="Calibri Light" panose="020F0302020204030204" pitchFamily="34" charset="0"/>
            </a:endParaRPr>
          </a:p>
        </p:txBody>
      </p:sp>
    </p:spTree>
    <p:extLst>
      <p:ext uri="{BB962C8B-B14F-4D97-AF65-F5344CB8AC3E}">
        <p14:creationId xmlns:p14="http://schemas.microsoft.com/office/powerpoint/2010/main" val="33231823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22606" y="799755"/>
            <a:ext cx="11188700" cy="334100"/>
          </a:xfrm>
        </p:spPr>
        <p:txBody>
          <a:bodyPr/>
          <a:lstStyle/>
          <a:p>
            <a:r>
              <a:rPr lang="en-US" dirty="0">
                <a:solidFill>
                  <a:srgbClr val="00B050"/>
                </a:solidFill>
                <a:latin typeface="Calibri Light" panose="020F0302020204030204" pitchFamily="34" charset="0"/>
                <a:cs typeface="Calibri Light" panose="020F0302020204030204" pitchFamily="34" charset="0"/>
              </a:rPr>
              <a:t>    </a:t>
            </a:r>
            <a:r>
              <a:rPr lang="en-US" b="1" dirty="0" err="1">
                <a:solidFill>
                  <a:schemeClr val="accent1"/>
                </a:solidFill>
                <a:latin typeface="Calibri Light" panose="020F0302020204030204" pitchFamily="34" charset="0"/>
                <a:cs typeface="Calibri Light" panose="020F0302020204030204" pitchFamily="34" charset="0"/>
              </a:rPr>
              <a:t>Doanh</a:t>
            </a:r>
            <a:r>
              <a:rPr lang="en-US" b="1" dirty="0">
                <a:solidFill>
                  <a:schemeClr val="accent1"/>
                </a:solidFill>
                <a:latin typeface="Calibri Light" panose="020F0302020204030204" pitchFamily="34" charset="0"/>
                <a:cs typeface="Calibri Light" panose="020F0302020204030204" pitchFamily="34" charset="0"/>
              </a:rPr>
              <a:t> </a:t>
            </a:r>
            <a:r>
              <a:rPr lang="en-US" b="1" dirty="0" err="1">
                <a:solidFill>
                  <a:schemeClr val="accent1"/>
                </a:solidFill>
                <a:latin typeface="Calibri Light" panose="020F0302020204030204" pitchFamily="34" charset="0"/>
                <a:cs typeface="Calibri Light" panose="020F0302020204030204" pitchFamily="34" charset="0"/>
              </a:rPr>
              <a:t>nghiệp</a:t>
            </a:r>
            <a:r>
              <a:rPr lang="en-US" b="1" dirty="0">
                <a:solidFill>
                  <a:schemeClr val="accent1"/>
                </a:solidFill>
                <a:latin typeface="Calibri Light" panose="020F0302020204030204" pitchFamily="34" charset="0"/>
                <a:cs typeface="Calibri Light" panose="020F0302020204030204" pitchFamily="34" charset="0"/>
              </a:rPr>
              <a:t> </a:t>
            </a:r>
            <a:r>
              <a:rPr lang="vi-VN" b="1" dirty="0">
                <a:solidFill>
                  <a:schemeClr val="accent1"/>
                </a:solidFill>
                <a:latin typeface="Calibri Light" panose="020F0302020204030204" pitchFamily="34" charset="0"/>
                <a:cs typeface="Calibri Light" panose="020F0302020204030204" pitchFamily="34" charset="0"/>
              </a:rPr>
              <a:t>cần có cái nhìn toàn diện hơn về Quản trị rủi ro và phát triển bền vững</a:t>
            </a:r>
            <a:endParaRPr lang="en-US" b="1" dirty="0">
              <a:solidFill>
                <a:schemeClr val="accent1"/>
              </a:solidFill>
              <a:latin typeface="Calibri Light" panose="020F0302020204030204" pitchFamily="34" charset="0"/>
              <a:cs typeface="Calibri Light" panose="020F0302020204030204" pitchFamily="34" charset="0"/>
            </a:endParaRPr>
          </a:p>
          <a:p>
            <a:pPr marL="233363"/>
            <a:r>
              <a:rPr lang="en-US" sz="1600" dirty="0">
                <a:solidFill>
                  <a:schemeClr val="tx1"/>
                </a:solidFill>
                <a:latin typeface="Calibri Light" panose="020F0302020204030204" pitchFamily="34" charset="0"/>
                <a:cs typeface="Calibri Light" panose="020F0302020204030204" pitchFamily="34" charset="0"/>
              </a:rPr>
              <a:t>Trong </a:t>
            </a:r>
            <a:r>
              <a:rPr lang="en-US" sz="1600" dirty="0" err="1">
                <a:solidFill>
                  <a:schemeClr val="tx1"/>
                </a:solidFill>
                <a:latin typeface="Calibri Light" panose="020F0302020204030204" pitchFamily="34" charset="0"/>
                <a:cs typeface="Calibri Light" panose="020F0302020204030204" pitchFamily="34" charset="0"/>
              </a:rPr>
              <a:t>khảo</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sát</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gầ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đây</a:t>
            </a:r>
            <a:r>
              <a:rPr lang="en-US" sz="1600" dirty="0">
                <a:solidFill>
                  <a:schemeClr val="tx1"/>
                </a:solidFill>
                <a:latin typeface="Calibri Light" panose="020F0302020204030204" pitchFamily="34" charset="0"/>
                <a:cs typeface="Calibri Light" panose="020F0302020204030204" pitchFamily="34" charset="0"/>
              </a:rPr>
              <a:t> đ</a:t>
            </a:r>
            <a:r>
              <a:rPr lang="vi-VN" sz="1600" dirty="0">
                <a:solidFill>
                  <a:schemeClr val="tx1"/>
                </a:solidFill>
                <a:latin typeface="Calibri Light" panose="020F0302020204030204" pitchFamily="34" charset="0"/>
                <a:cs typeface="Calibri Light" panose="020F0302020204030204" pitchFamily="34" charset="0"/>
              </a:rPr>
              <a:t>ư</a:t>
            </a:r>
            <a:r>
              <a:rPr lang="en-US" sz="1600" dirty="0" err="1">
                <a:solidFill>
                  <a:schemeClr val="tx1"/>
                </a:solidFill>
                <a:latin typeface="Calibri Light" panose="020F0302020204030204" pitchFamily="34" charset="0"/>
                <a:cs typeface="Calibri Light" panose="020F0302020204030204" pitchFamily="34" charset="0"/>
              </a:rPr>
              <a:t>ợc</a:t>
            </a:r>
            <a:r>
              <a:rPr lang="en-US" sz="1600" dirty="0">
                <a:solidFill>
                  <a:schemeClr val="tx1"/>
                </a:solidFill>
                <a:latin typeface="Calibri Light" panose="020F0302020204030204" pitchFamily="34" charset="0"/>
                <a:cs typeface="Calibri Light" panose="020F0302020204030204" pitchFamily="34" charset="0"/>
              </a:rPr>
              <a:t> Deloitte thực </a:t>
            </a:r>
            <a:r>
              <a:rPr lang="en-US" sz="1600" dirty="0" err="1">
                <a:solidFill>
                  <a:schemeClr val="tx1"/>
                </a:solidFill>
                <a:latin typeface="Calibri Light" panose="020F0302020204030204" pitchFamily="34" charset="0"/>
                <a:cs typeface="Calibri Light" panose="020F0302020204030204" pitchFamily="34" charset="0"/>
              </a:rPr>
              <a:t>hiệ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nhậ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thấy</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ác</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ông</a:t>
            </a:r>
            <a:r>
              <a:rPr lang="en-US" sz="1600" dirty="0">
                <a:solidFill>
                  <a:schemeClr val="tx1"/>
                </a:solidFill>
                <a:latin typeface="Calibri Light" panose="020F0302020204030204" pitchFamily="34" charset="0"/>
                <a:cs typeface="Calibri Light" panose="020F0302020204030204" pitchFamily="34" charset="0"/>
              </a:rPr>
              <a:t> ty </a:t>
            </a:r>
            <a:r>
              <a:rPr lang="en-US" sz="1600" dirty="0" err="1">
                <a:solidFill>
                  <a:schemeClr val="tx1"/>
                </a:solidFill>
                <a:latin typeface="Calibri Light" panose="020F0302020204030204" pitchFamily="34" charset="0"/>
                <a:cs typeface="Calibri Light" panose="020F0302020204030204" pitchFamily="34" charset="0"/>
              </a:rPr>
              <a:t>đang</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đánh</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giá</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ác</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rủi</a:t>
            </a:r>
            <a:r>
              <a:rPr lang="en-US" sz="1600" dirty="0">
                <a:solidFill>
                  <a:schemeClr val="tx1"/>
                </a:solidFill>
                <a:latin typeface="Calibri Light" panose="020F0302020204030204" pitchFamily="34" charset="0"/>
                <a:cs typeface="Calibri Light" panose="020F0302020204030204" pitchFamily="34" charset="0"/>
              </a:rPr>
              <a:t> ro </a:t>
            </a:r>
            <a:r>
              <a:rPr lang="en-US" sz="1600" dirty="0" err="1">
                <a:solidFill>
                  <a:schemeClr val="tx1"/>
                </a:solidFill>
                <a:latin typeface="Calibri Light" panose="020F0302020204030204" pitchFamily="34" charset="0"/>
                <a:cs typeface="Calibri Light" panose="020F0302020204030204" pitchFamily="34" charset="0"/>
              </a:rPr>
              <a:t>hiệ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hữu</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hỉ</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mức</a:t>
            </a:r>
            <a:r>
              <a:rPr lang="en-US" sz="1600" dirty="0">
                <a:solidFill>
                  <a:schemeClr val="tx1"/>
                </a:solidFill>
                <a:latin typeface="Calibri Light" panose="020F0302020204030204" pitchFamily="34" charset="0"/>
                <a:cs typeface="Calibri Light" panose="020F0302020204030204" pitchFamily="34" charset="0"/>
              </a:rPr>
              <a:t> trung </a:t>
            </a:r>
            <a:r>
              <a:rPr lang="en-US" sz="1600" dirty="0" err="1">
                <a:solidFill>
                  <a:schemeClr val="tx1"/>
                </a:solidFill>
                <a:latin typeface="Calibri Light" panose="020F0302020204030204" pitchFamily="34" charset="0"/>
                <a:cs typeface="Calibri Light" panose="020F0302020204030204" pitchFamily="34" charset="0"/>
              </a:rPr>
              <a:t>bình</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và</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ho</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mục</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tiêu</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ngắ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hạ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mà</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hưa</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quản</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trị</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ho</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các</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mục</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tiêu</a:t>
            </a:r>
            <a:r>
              <a:rPr lang="en-US" sz="1600" dirty="0">
                <a:solidFill>
                  <a:schemeClr val="tx1"/>
                </a:solidFill>
                <a:latin typeface="Calibri Light" panose="020F0302020204030204" pitchFamily="34" charset="0"/>
                <a:cs typeface="Calibri Light" panose="020F0302020204030204" pitchFamily="34" charset="0"/>
              </a:rPr>
              <a:t> t</a:t>
            </a:r>
            <a:r>
              <a:rPr lang="vi-VN" sz="1600" dirty="0">
                <a:solidFill>
                  <a:schemeClr val="tx1"/>
                </a:solidFill>
                <a:latin typeface="Calibri Light" panose="020F0302020204030204" pitchFamily="34" charset="0"/>
                <a:cs typeface="Calibri Light" panose="020F0302020204030204" pitchFamily="34" charset="0"/>
              </a:rPr>
              <a:t>ư</a:t>
            </a:r>
            <a:r>
              <a:rPr lang="en-US" sz="1600" dirty="0" err="1">
                <a:solidFill>
                  <a:schemeClr val="tx1"/>
                </a:solidFill>
                <a:latin typeface="Calibri Light" panose="020F0302020204030204" pitchFamily="34" charset="0"/>
                <a:cs typeface="Calibri Light" panose="020F0302020204030204" pitchFamily="34" charset="0"/>
              </a:rPr>
              <a:t>ơng</a:t>
            </a:r>
            <a:r>
              <a:rPr lang="en-US" sz="1600" dirty="0">
                <a:solidFill>
                  <a:schemeClr val="tx1"/>
                </a:solidFill>
                <a:latin typeface="Calibri Light" panose="020F0302020204030204" pitchFamily="34" charset="0"/>
                <a:cs typeface="Calibri Light" panose="020F0302020204030204" pitchFamily="34" charset="0"/>
              </a:rPr>
              <a:t> </a:t>
            </a:r>
            <a:r>
              <a:rPr lang="en-US" sz="1600" dirty="0" err="1">
                <a:solidFill>
                  <a:schemeClr val="tx1"/>
                </a:solidFill>
                <a:latin typeface="Calibri Light" panose="020F0302020204030204" pitchFamily="34" charset="0"/>
                <a:cs typeface="Calibri Light" panose="020F0302020204030204" pitchFamily="34" charset="0"/>
              </a:rPr>
              <a:t>lai</a:t>
            </a:r>
            <a:r>
              <a:rPr lang="en-US" sz="1600" dirty="0">
                <a:solidFill>
                  <a:schemeClr val="tx1"/>
                </a:solidFill>
                <a:latin typeface="Calibri Light" panose="020F0302020204030204" pitchFamily="34" charset="0"/>
                <a:cs typeface="Calibri Light" panose="020F0302020204030204" pitchFamily="34" charset="0"/>
              </a:rPr>
              <a:t>”</a:t>
            </a:r>
          </a:p>
          <a:p>
            <a:endParaRPr lang="vi-VN" dirty="0">
              <a:latin typeface="Calibri Light" panose="020F0302020204030204" pitchFamily="34" charset="0"/>
              <a:cs typeface="Calibri Light" panose="020F0302020204030204" pitchFamily="34" charset="0"/>
            </a:endParaRPr>
          </a:p>
          <a:p>
            <a:endParaRPr lang="en-GB" dirty="0">
              <a:latin typeface="Calibri Light" panose="020F0302020204030204" pitchFamily="34" charset="0"/>
              <a:cs typeface="Calibri Light" panose="020F0302020204030204" pitchFamily="34" charset="0"/>
            </a:endParaRPr>
          </a:p>
        </p:txBody>
      </p:sp>
      <p:graphicFrame>
        <p:nvGraphicFramePr>
          <p:cNvPr id="172" name="Table 171">
            <a:extLst>
              <a:ext uri="{FF2B5EF4-FFF2-40B4-BE49-F238E27FC236}">
                <a16:creationId xmlns:a16="http://schemas.microsoft.com/office/drawing/2014/main" id="{3B1BF495-ACD0-4996-B279-8732E17C1FE0}"/>
              </a:ext>
            </a:extLst>
          </p:cNvPr>
          <p:cNvGraphicFramePr>
            <a:graphicFrameLocks noGrp="1"/>
          </p:cNvGraphicFramePr>
          <p:nvPr/>
        </p:nvGraphicFramePr>
        <p:xfrm>
          <a:off x="542219" y="4164788"/>
          <a:ext cx="10655676" cy="2623188"/>
        </p:xfrm>
        <a:graphic>
          <a:graphicData uri="http://schemas.openxmlformats.org/drawingml/2006/table">
            <a:tbl>
              <a:tblPr firstRow="1" bandRow="1">
                <a:tableStyleId>{5C22544A-7EE6-4342-B048-85BDC9FD1C3A}</a:tableStyleId>
              </a:tblPr>
              <a:tblGrid>
                <a:gridCol w="308234">
                  <a:extLst>
                    <a:ext uri="{9D8B030D-6E8A-4147-A177-3AD203B41FA5}">
                      <a16:colId xmlns:a16="http://schemas.microsoft.com/office/drawing/2014/main" val="164895650"/>
                    </a:ext>
                  </a:extLst>
                </a:gridCol>
                <a:gridCol w="2142518">
                  <a:extLst>
                    <a:ext uri="{9D8B030D-6E8A-4147-A177-3AD203B41FA5}">
                      <a16:colId xmlns:a16="http://schemas.microsoft.com/office/drawing/2014/main" val="3021102122"/>
                    </a:ext>
                  </a:extLst>
                </a:gridCol>
                <a:gridCol w="2051231">
                  <a:extLst>
                    <a:ext uri="{9D8B030D-6E8A-4147-A177-3AD203B41FA5}">
                      <a16:colId xmlns:a16="http://schemas.microsoft.com/office/drawing/2014/main" val="3010313135"/>
                    </a:ext>
                  </a:extLst>
                </a:gridCol>
                <a:gridCol w="2051231">
                  <a:extLst>
                    <a:ext uri="{9D8B030D-6E8A-4147-A177-3AD203B41FA5}">
                      <a16:colId xmlns:a16="http://schemas.microsoft.com/office/drawing/2014/main" val="2212542903"/>
                    </a:ext>
                  </a:extLst>
                </a:gridCol>
                <a:gridCol w="2051231">
                  <a:extLst>
                    <a:ext uri="{9D8B030D-6E8A-4147-A177-3AD203B41FA5}">
                      <a16:colId xmlns:a16="http://schemas.microsoft.com/office/drawing/2014/main" val="3191526735"/>
                    </a:ext>
                  </a:extLst>
                </a:gridCol>
                <a:gridCol w="2051231">
                  <a:extLst>
                    <a:ext uri="{9D8B030D-6E8A-4147-A177-3AD203B41FA5}">
                      <a16:colId xmlns:a16="http://schemas.microsoft.com/office/drawing/2014/main" val="402785785"/>
                    </a:ext>
                  </a:extLst>
                </a:gridCol>
              </a:tblGrid>
              <a:tr h="3314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rgbClr val="53565A"/>
                        </a:solidFill>
                        <a:latin typeface="Calibri" panose="020F0502020204030204" pitchFamily="34" charset="0"/>
                        <a:cs typeface="Calibri" panose="020F0502020204030204" pitchFamily="34" charset="0"/>
                      </a:endParaRPr>
                    </a:p>
                  </a:txBody>
                  <a:tcPr marL="51435" marR="51435" marT="51435" marB="51435" anchor="ctr">
                    <a:lnL w="12700" cmpd="sng">
                      <a:noFill/>
                    </a:lnL>
                    <a:lnR w="12700" cap="flat" cmpd="sng" algn="ctr">
                      <a:solidFill>
                        <a:srgbClr val="53565A"/>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err="1">
                          <a:solidFill>
                            <a:schemeClr val="bg1"/>
                          </a:solidFill>
                          <a:latin typeface="Calibri" panose="020F0502020204030204" pitchFamily="34" charset="0"/>
                          <a:cs typeface="Calibri" panose="020F0502020204030204" pitchFamily="34" charset="0"/>
                        </a:rPr>
                        <a:t>Quản</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trị</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rủi</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ro</a:t>
                      </a:r>
                      <a:endParaRPr lang="en-US" sz="1000" b="1" dirty="0">
                        <a:solidFill>
                          <a:schemeClr val="bg1"/>
                        </a:solidFill>
                        <a:latin typeface="Calibri" panose="020F0502020204030204" pitchFamily="34" charset="0"/>
                        <a:cs typeface="Calibri" panose="020F0502020204030204" pitchFamily="34" charset="0"/>
                      </a:endParaRPr>
                    </a:p>
                  </a:txBody>
                  <a:tcPr marL="51435" marR="51435"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53565A"/>
                    </a:solidFill>
                  </a:tcPr>
                </a:tc>
                <a:tc>
                  <a:txBody>
                    <a:bodyPr/>
                    <a:lstStyle/>
                    <a:p>
                      <a:pPr algn="ctr"/>
                      <a:r>
                        <a:rPr lang="en-US" sz="1000" dirty="0" err="1">
                          <a:solidFill>
                            <a:schemeClr val="bg1"/>
                          </a:solidFill>
                          <a:latin typeface="Calibri" panose="020F0502020204030204" pitchFamily="34" charset="0"/>
                          <a:cs typeface="Calibri" panose="020F0502020204030204" pitchFamily="34" charset="0"/>
                        </a:rPr>
                        <a:t>Phản</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ứng</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lại</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với</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sự</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cố</a:t>
                      </a:r>
                      <a:endParaRPr lang="en-US" sz="1000" dirty="0">
                        <a:solidFill>
                          <a:schemeClr val="bg1"/>
                        </a:solidFill>
                        <a:latin typeface="Calibri" panose="020F0502020204030204" pitchFamily="34" charset="0"/>
                        <a:cs typeface="Calibri" panose="020F0502020204030204" pitchFamily="34" charset="0"/>
                      </a:endParaRPr>
                    </a:p>
                  </a:txBody>
                  <a:tcPr marL="15431" marR="15431"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012169"/>
                    </a:solidFill>
                  </a:tcPr>
                </a:tc>
                <a:tc>
                  <a:txBody>
                    <a:bodyPr/>
                    <a:lstStyle/>
                    <a:p>
                      <a:pPr algn="ctr">
                        <a:lnSpc>
                          <a:spcPct val="115000"/>
                        </a:lnSpc>
                      </a:pPr>
                      <a:r>
                        <a:rPr lang="en-AU" sz="1000" b="1" dirty="0" err="1">
                          <a:solidFill>
                            <a:prstClr val="white"/>
                          </a:solidFill>
                          <a:latin typeface="Calibri" panose="020F0502020204030204" pitchFamily="34" charset="0"/>
                          <a:ea typeface="Verdana" panose="020B0604030504040204" pitchFamily="34" charset="0"/>
                          <a:cs typeface="Calibri" panose="020F0502020204030204" pitchFamily="34" charset="0"/>
                        </a:rPr>
                        <a:t>Khôi</a:t>
                      </a:r>
                      <a:r>
                        <a:rPr lang="en-AU" sz="10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000" b="1" dirty="0" err="1">
                          <a:solidFill>
                            <a:prstClr val="white"/>
                          </a:solidFill>
                          <a:latin typeface="Calibri" panose="020F0502020204030204" pitchFamily="34" charset="0"/>
                          <a:ea typeface="Verdana" panose="020B0604030504040204" pitchFamily="34" charset="0"/>
                          <a:cs typeface="Calibri" panose="020F0502020204030204" pitchFamily="34" charset="0"/>
                        </a:rPr>
                        <a:t>phục</a:t>
                      </a:r>
                      <a:r>
                        <a:rPr lang="en-AU" sz="10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000" b="1" dirty="0" err="1">
                          <a:solidFill>
                            <a:prstClr val="white"/>
                          </a:solidFill>
                          <a:latin typeface="Calibri" panose="020F0502020204030204" pitchFamily="34" charset="0"/>
                          <a:ea typeface="Verdana" panose="020B0604030504040204" pitchFamily="34" charset="0"/>
                          <a:cs typeface="Calibri" panose="020F0502020204030204" pitchFamily="34" charset="0"/>
                        </a:rPr>
                        <a:t>sau</a:t>
                      </a:r>
                      <a:r>
                        <a:rPr lang="en-AU" sz="10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000" b="1" dirty="0" err="1">
                          <a:solidFill>
                            <a:prstClr val="white"/>
                          </a:solidFill>
                          <a:latin typeface="Calibri" panose="020F0502020204030204" pitchFamily="34" charset="0"/>
                          <a:ea typeface="Verdana" panose="020B0604030504040204" pitchFamily="34" charset="0"/>
                          <a:cs typeface="Calibri" panose="020F0502020204030204" pitchFamily="34" charset="0"/>
                        </a:rPr>
                        <a:t>sự</a:t>
                      </a:r>
                      <a:r>
                        <a:rPr lang="en-AU" sz="1000" b="1" dirty="0">
                          <a:solidFill>
                            <a:prstClr val="white"/>
                          </a:solidFill>
                          <a:latin typeface="Calibri" panose="020F0502020204030204" pitchFamily="34" charset="0"/>
                          <a:ea typeface="Verdana" panose="020B0604030504040204" pitchFamily="34" charset="0"/>
                          <a:cs typeface="Calibri" panose="020F0502020204030204" pitchFamily="34" charset="0"/>
                        </a:rPr>
                        <a:t> </a:t>
                      </a:r>
                      <a:r>
                        <a:rPr lang="en-AU" sz="1000" b="1" dirty="0" err="1">
                          <a:solidFill>
                            <a:prstClr val="white"/>
                          </a:solidFill>
                          <a:latin typeface="Calibri" panose="020F0502020204030204" pitchFamily="34" charset="0"/>
                          <a:ea typeface="Verdana" panose="020B0604030504040204" pitchFamily="34" charset="0"/>
                          <a:cs typeface="Calibri" panose="020F0502020204030204" pitchFamily="34" charset="0"/>
                        </a:rPr>
                        <a:t>cố</a:t>
                      </a:r>
                      <a:endParaRPr lang="en-AU" sz="1000" b="1" dirty="0">
                        <a:solidFill>
                          <a:prstClr val="white"/>
                        </a:solidFill>
                        <a:latin typeface="Calibri" panose="020F0502020204030204" pitchFamily="34" charset="0"/>
                        <a:ea typeface="Verdana" panose="020B0604030504040204" pitchFamily="34" charset="0"/>
                        <a:cs typeface="Calibri" panose="020F0502020204030204" pitchFamily="34" charset="0"/>
                      </a:endParaRPr>
                    </a:p>
                  </a:txBody>
                  <a:tcPr marL="15431" marR="15431"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007680"/>
                    </a:solidFill>
                  </a:tcPr>
                </a:tc>
                <a:tc>
                  <a:txBody>
                    <a:bodyPr/>
                    <a:lstStyle/>
                    <a:p>
                      <a:pPr marL="0" algn="ctr" defTabSz="914400" rtl="0" eaLnBrk="1" latinLnBrk="0" hangingPunct="1"/>
                      <a:r>
                        <a:rPr lang="en-US" sz="1000" b="1" kern="1200" dirty="0" err="1">
                          <a:solidFill>
                            <a:schemeClr val="bg1"/>
                          </a:solidFill>
                          <a:latin typeface="Calibri" panose="020F0502020204030204" pitchFamily="34" charset="0"/>
                          <a:ea typeface="+mn-ea"/>
                          <a:cs typeface="Calibri" panose="020F0502020204030204" pitchFamily="34" charset="0"/>
                        </a:rPr>
                        <a:t>Hoạt</a:t>
                      </a:r>
                      <a:r>
                        <a:rPr lang="en-US" sz="1000" b="1" kern="1200" dirty="0">
                          <a:solidFill>
                            <a:schemeClr val="bg1"/>
                          </a:solidFill>
                          <a:latin typeface="Calibri" panose="020F0502020204030204" pitchFamily="34" charset="0"/>
                          <a:ea typeface="+mn-ea"/>
                          <a:cs typeface="Calibri" panose="020F0502020204030204" pitchFamily="34" charset="0"/>
                        </a:rPr>
                        <a:t> </a:t>
                      </a:r>
                      <a:r>
                        <a:rPr lang="en-US" sz="1000" b="1" kern="1200" dirty="0" err="1">
                          <a:solidFill>
                            <a:schemeClr val="bg1"/>
                          </a:solidFill>
                          <a:latin typeface="Calibri" panose="020F0502020204030204" pitchFamily="34" charset="0"/>
                          <a:ea typeface="+mn-ea"/>
                          <a:cs typeface="Calibri" panose="020F0502020204030204" pitchFamily="34" charset="0"/>
                        </a:rPr>
                        <a:t>động</a:t>
                      </a:r>
                      <a:r>
                        <a:rPr lang="en-US" sz="1000" b="1" kern="1200" dirty="0">
                          <a:solidFill>
                            <a:schemeClr val="bg1"/>
                          </a:solidFill>
                          <a:latin typeface="Calibri" panose="020F0502020204030204" pitchFamily="34" charset="0"/>
                          <a:ea typeface="+mn-ea"/>
                          <a:cs typeface="Calibri" panose="020F0502020204030204" pitchFamily="34" charset="0"/>
                        </a:rPr>
                        <a:t> </a:t>
                      </a:r>
                      <a:r>
                        <a:rPr lang="en-US" sz="1000" b="1" kern="1200" dirty="0" err="1">
                          <a:solidFill>
                            <a:schemeClr val="bg1"/>
                          </a:solidFill>
                          <a:latin typeface="Calibri" panose="020F0502020204030204" pitchFamily="34" charset="0"/>
                          <a:ea typeface="+mn-ea"/>
                          <a:cs typeface="Calibri" panose="020F0502020204030204" pitchFamily="34" charset="0"/>
                        </a:rPr>
                        <a:t>liên</a:t>
                      </a:r>
                      <a:r>
                        <a:rPr lang="en-US" sz="1000" b="1" kern="1200" dirty="0">
                          <a:solidFill>
                            <a:schemeClr val="bg1"/>
                          </a:solidFill>
                          <a:latin typeface="Calibri" panose="020F0502020204030204" pitchFamily="34" charset="0"/>
                          <a:ea typeface="+mn-ea"/>
                          <a:cs typeface="Calibri" panose="020F0502020204030204" pitchFamily="34" charset="0"/>
                        </a:rPr>
                        <a:t> </a:t>
                      </a:r>
                      <a:r>
                        <a:rPr lang="en-US" sz="1000" b="1" kern="1200" dirty="0" err="1">
                          <a:solidFill>
                            <a:schemeClr val="bg1"/>
                          </a:solidFill>
                          <a:latin typeface="Calibri" panose="020F0502020204030204" pitchFamily="34" charset="0"/>
                          <a:ea typeface="+mn-ea"/>
                          <a:cs typeface="Calibri" panose="020F0502020204030204" pitchFamily="34" charset="0"/>
                        </a:rPr>
                        <a:t>tục</a:t>
                      </a:r>
                      <a:endParaRPr lang="en-US" sz="1000" b="1" kern="1200" dirty="0">
                        <a:solidFill>
                          <a:schemeClr val="bg1"/>
                        </a:solidFill>
                        <a:latin typeface="Calibri" panose="020F0502020204030204" pitchFamily="34" charset="0"/>
                        <a:ea typeface="+mn-ea"/>
                        <a:cs typeface="Calibri" panose="020F0502020204030204" pitchFamily="34" charset="0"/>
                      </a:endParaRPr>
                    </a:p>
                  </a:txBody>
                  <a:tcPr marL="15431" marR="15431"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0076A8"/>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err="1">
                          <a:solidFill>
                            <a:schemeClr val="bg1"/>
                          </a:solidFill>
                          <a:latin typeface="Calibri" panose="020F0502020204030204" pitchFamily="34" charset="0"/>
                          <a:cs typeface="Calibri" panose="020F0502020204030204" pitchFamily="34" charset="0"/>
                        </a:rPr>
                        <a:t>Quản</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lý</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khủng</a:t>
                      </a:r>
                      <a:r>
                        <a:rPr lang="en-US" sz="1000" dirty="0">
                          <a:solidFill>
                            <a:schemeClr val="bg1"/>
                          </a:solidFill>
                          <a:latin typeface="Calibri" panose="020F0502020204030204" pitchFamily="34" charset="0"/>
                          <a:cs typeface="Calibri" panose="020F0502020204030204" pitchFamily="34" charset="0"/>
                        </a:rPr>
                        <a:t> </a:t>
                      </a:r>
                      <a:r>
                        <a:rPr lang="en-US" sz="1000" dirty="0" err="1">
                          <a:solidFill>
                            <a:schemeClr val="bg1"/>
                          </a:solidFill>
                          <a:latin typeface="Calibri" panose="020F0502020204030204" pitchFamily="34" charset="0"/>
                          <a:cs typeface="Calibri" panose="020F0502020204030204" pitchFamily="34" charset="0"/>
                        </a:rPr>
                        <a:t>hoảng</a:t>
                      </a:r>
                      <a:endParaRPr lang="en-US" sz="1000" dirty="0">
                        <a:solidFill>
                          <a:schemeClr val="bg1"/>
                        </a:solidFill>
                        <a:latin typeface="Calibri" panose="020F0502020204030204" pitchFamily="34" charset="0"/>
                        <a:cs typeface="Calibri" panose="020F0502020204030204" pitchFamily="34" charset="0"/>
                      </a:endParaRPr>
                    </a:p>
                  </a:txBody>
                  <a:tcPr marL="51435" marR="51435" marT="51435" marB="51435"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6FC2B4"/>
                    </a:solidFill>
                  </a:tcPr>
                </a:tc>
                <a:extLst>
                  <a:ext uri="{0D108BD9-81ED-4DB2-BD59-A6C34878D82A}">
                    <a16:rowId xmlns:a16="http://schemas.microsoft.com/office/drawing/2014/main" val="1207890314"/>
                  </a:ext>
                </a:extLst>
              </a:tr>
              <a:tr h="725805">
                <a:tc>
                  <a:txBody>
                    <a:bodyPr/>
                    <a:lstStyle/>
                    <a:p>
                      <a:pPr algn="ctr"/>
                      <a:r>
                        <a:rPr lang="en-US" sz="1000" b="0" i="0" dirty="0" err="1">
                          <a:solidFill>
                            <a:schemeClr val="tx1"/>
                          </a:solidFill>
                          <a:latin typeface="Calibri" panose="020F0502020204030204" pitchFamily="34" charset="0"/>
                          <a:cs typeface="Calibri" panose="020F0502020204030204" pitchFamily="34" charset="0"/>
                        </a:rPr>
                        <a:t>Mô</a:t>
                      </a:r>
                      <a:r>
                        <a:rPr lang="en-US" sz="1000" b="0" i="0" dirty="0">
                          <a:solidFill>
                            <a:schemeClr val="tx1"/>
                          </a:solidFill>
                          <a:latin typeface="Calibri" panose="020F0502020204030204" pitchFamily="34" charset="0"/>
                          <a:cs typeface="Calibri" panose="020F0502020204030204" pitchFamily="34" charset="0"/>
                        </a:rPr>
                        <a:t> </a:t>
                      </a:r>
                      <a:r>
                        <a:rPr lang="en-US" sz="1000" b="0" i="0" dirty="0" err="1">
                          <a:solidFill>
                            <a:schemeClr val="tx1"/>
                          </a:solidFill>
                          <a:latin typeface="Calibri" panose="020F0502020204030204" pitchFamily="34" charset="0"/>
                          <a:cs typeface="Calibri" panose="020F0502020204030204" pitchFamily="34" charset="0"/>
                        </a:rPr>
                        <a:t>tả</a:t>
                      </a:r>
                      <a:endParaRPr lang="en-US" sz="1000" b="0" i="0" dirty="0">
                        <a:solidFill>
                          <a:schemeClr val="tx1"/>
                        </a:solidFill>
                        <a:latin typeface="Calibri" panose="020F0502020204030204" pitchFamily="34" charset="0"/>
                        <a:cs typeface="Calibri" panose="020F0502020204030204" pitchFamily="34" charset="0"/>
                      </a:endParaRPr>
                    </a:p>
                  </a:txBody>
                  <a:tcPr marL="51435" marR="51435" marT="77153" marB="77153" vert="vert270"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D0D0CE"/>
                    </a:solidFill>
                  </a:tcPr>
                </a:tc>
                <a:tc>
                  <a:txBody>
                    <a:bodyPr/>
                    <a:lstStyle/>
                    <a:p>
                      <a:r>
                        <a:rPr lang="en-US" sz="1000" b="0" dirty="0" err="1">
                          <a:solidFill>
                            <a:schemeClr val="tx1"/>
                          </a:solidFill>
                          <a:latin typeface="Calibri" panose="020F0502020204030204" pitchFamily="34" charset="0"/>
                          <a:cs typeface="Calibri" panose="020F0502020204030204" pitchFamily="34" charset="0"/>
                        </a:rPr>
                        <a:t>Dựa</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vào</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vă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hóa</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nă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lực</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và</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hực</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iễ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để</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quả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lý</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rủi</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ro</a:t>
                      </a:r>
                      <a:endParaRPr lang="en-US" sz="1000" dirty="0">
                        <a:solidFill>
                          <a:schemeClr val="tx1"/>
                        </a:solidFill>
                        <a:latin typeface="Calibri" panose="020F0502020204030204" pitchFamily="34" charset="0"/>
                        <a:cs typeface="Calibri" panose="020F0502020204030204" pitchFamily="34" charset="0"/>
                      </a:endParaRPr>
                    </a:p>
                  </a:txBody>
                  <a:tcPr marL="51435" marR="51435" marT="77153" marB="77153">
                    <a:lnL w="12700" cap="flat" cmpd="sng" algn="ctr">
                      <a:solidFill>
                        <a:srgbClr val="53565A"/>
                      </a:solidFill>
                      <a:prstDash val="solid"/>
                      <a:round/>
                      <a:headEnd type="none" w="med" len="med"/>
                      <a:tailEnd type="none" w="med" len="med"/>
                    </a:lnL>
                    <a:lnR w="76200" cap="flat" cmpd="sng" algn="ctr">
                      <a:noFill/>
                      <a:prstDash val="solid"/>
                      <a:round/>
                      <a:headEnd type="none" w="med" len="med"/>
                      <a:tailEnd type="none" w="med" len="med"/>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err="1">
                          <a:solidFill>
                            <a:schemeClr val="tx1"/>
                          </a:solidFill>
                          <a:latin typeface="Calibri" panose="020F0502020204030204" pitchFamily="34" charset="0"/>
                          <a:cs typeface="Calibri" panose="020F0502020204030204" pitchFamily="34" charset="0"/>
                        </a:rPr>
                        <a:t>Khả</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ă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ă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lự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phả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ứ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hanh</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để</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quả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lý</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cá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sự</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cố</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hằm</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ránh</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hiệt</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hại</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cho</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doanh</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ghiệp</a:t>
                      </a:r>
                      <a:endParaRPr lang="en-US" sz="10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err="1">
                          <a:solidFill>
                            <a:schemeClr val="tx1"/>
                          </a:solidFill>
                          <a:latin typeface="Calibri" panose="020F0502020204030204" pitchFamily="34" charset="0"/>
                          <a:cs typeface="Calibri" panose="020F0502020204030204" pitchFamily="34" charset="0"/>
                        </a:rPr>
                        <a:t>Khả</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ă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ă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lự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khôi</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phụ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hoặ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iếp</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ụ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sử</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dụ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cá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hệ</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hố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và</a:t>
                      </a:r>
                      <a:r>
                        <a:rPr lang="en-US" sz="1000" dirty="0">
                          <a:solidFill>
                            <a:schemeClr val="tx1"/>
                          </a:solidFill>
                          <a:latin typeface="Calibri" panose="020F0502020204030204" pitchFamily="34" charset="0"/>
                          <a:cs typeface="Calibri" panose="020F0502020204030204" pitchFamily="34" charset="0"/>
                        </a:rPr>
                        <a:t> c</a:t>
                      </a:r>
                      <a:r>
                        <a:rPr lang="vi-VN" sz="1000" dirty="0">
                          <a:solidFill>
                            <a:schemeClr val="tx1"/>
                          </a:solidFill>
                          <a:latin typeface="Calibri" panose="020F0502020204030204" pitchFamily="34" charset="0"/>
                          <a:cs typeface="Calibri" panose="020F0502020204030204" pitchFamily="34" charset="0"/>
                        </a:rPr>
                        <a:t>ơ</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sở</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hạ</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ầ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kỹ</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huật</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cốt</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yếu</a:t>
                      </a:r>
                      <a:endParaRPr lang="en-US" sz="1000" kern="1200" dirty="0">
                        <a:solidFill>
                          <a:schemeClr val="tx1"/>
                        </a:solidFill>
                        <a:latin typeface="Calibri" panose="020F0502020204030204" pitchFamily="34" charset="0"/>
                        <a:ea typeface="+mn-ea"/>
                        <a:cs typeface="Calibri" panose="020F0502020204030204" pitchFamily="34" charset="0"/>
                      </a:endParaRPr>
                    </a:p>
                  </a:txBody>
                  <a:tcPr marL="51435" marR="51435" marT="77153" marB="77153">
                    <a:lnL w="12700" cmpd="sng">
                      <a:noFill/>
                    </a:lnL>
                    <a:lnR w="12700" cmpd="sng">
                      <a:noFill/>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Calibri" panose="020F0502020204030204" pitchFamily="34" charset="0"/>
                          <a:cs typeface="Calibri" panose="020F0502020204030204" pitchFamily="34" charset="0"/>
                        </a:rPr>
                        <a:t>Ch</a:t>
                      </a:r>
                      <a:r>
                        <a:rPr lang="vi-VN" sz="1000" dirty="0">
                          <a:solidFill>
                            <a:schemeClr val="tx1"/>
                          </a:solidFill>
                          <a:latin typeface="Calibri" panose="020F0502020204030204" pitchFamily="34" charset="0"/>
                          <a:cs typeface="Calibri" panose="020F0502020204030204" pitchFamily="34" charset="0"/>
                        </a:rPr>
                        <a:t>ư</a:t>
                      </a:r>
                      <a:r>
                        <a:rPr lang="en-US" sz="1000" dirty="0" err="1">
                          <a:solidFill>
                            <a:schemeClr val="tx1"/>
                          </a:solidFill>
                          <a:latin typeface="Calibri" panose="020F0502020204030204" pitchFamily="34" charset="0"/>
                          <a:cs typeface="Calibri" panose="020F0502020204030204" pitchFamily="34" charset="0"/>
                        </a:rPr>
                        <a:t>ơ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rình</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hằm</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xây</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dự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và</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riể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khai</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cá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hủ</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tục</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liê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qua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đế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giá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đoạn</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hoạt</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độ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kinh</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doanh</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hàng</a:t>
                      </a:r>
                      <a:r>
                        <a:rPr lang="en-US" sz="1000" dirty="0">
                          <a:solidFill>
                            <a:schemeClr val="tx1"/>
                          </a:solidFill>
                          <a:latin typeface="Calibri" panose="020F0502020204030204" pitchFamily="34" charset="0"/>
                          <a:cs typeface="Calibri" panose="020F0502020204030204" pitchFamily="34" charset="0"/>
                        </a:rPr>
                        <a:t> </a:t>
                      </a:r>
                      <a:r>
                        <a:rPr lang="en-US" sz="1000" dirty="0" err="1">
                          <a:solidFill>
                            <a:schemeClr val="tx1"/>
                          </a:solidFill>
                          <a:latin typeface="Calibri" panose="020F0502020204030204" pitchFamily="34" charset="0"/>
                          <a:cs typeface="Calibri" panose="020F0502020204030204" pitchFamily="34" charset="0"/>
                        </a:rPr>
                        <a:t>ngày</a:t>
                      </a:r>
                      <a:r>
                        <a:rPr lang="en-US" sz="1000" dirty="0">
                          <a:solidFill>
                            <a:schemeClr val="tx1"/>
                          </a:solidFill>
                          <a:latin typeface="Calibri" panose="020F0502020204030204" pitchFamily="34" charset="0"/>
                          <a:cs typeface="Calibri" panose="020F0502020204030204" pitchFamily="34" charset="0"/>
                        </a:rPr>
                        <a:t>.</a:t>
                      </a:r>
                    </a:p>
                  </a:txBody>
                  <a:tcPr marL="51435" marR="51435" marT="77153" marB="77153">
                    <a:lnL w="12700" cmpd="sng">
                      <a:noFill/>
                    </a:lnL>
                    <a:lnR w="12700" cmpd="sng">
                      <a:noFill/>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Calibri" panose="020F0502020204030204" pitchFamily="34" charset="0"/>
                          <a:cs typeface="Calibri" panose="020F0502020204030204" pitchFamily="34" charset="0"/>
                        </a:rPr>
                        <a:t>Ch</a:t>
                      </a:r>
                      <a:r>
                        <a:rPr lang="vi-VN" sz="1000" b="0" dirty="0">
                          <a:solidFill>
                            <a:schemeClr val="tx1"/>
                          </a:solidFill>
                          <a:latin typeface="Calibri" panose="020F0502020204030204" pitchFamily="34" charset="0"/>
                          <a:cs typeface="Calibri" panose="020F0502020204030204" pitchFamily="34" charset="0"/>
                        </a:rPr>
                        <a:t>ư</a:t>
                      </a:r>
                      <a:r>
                        <a:rPr lang="en-US" sz="1000" b="0" dirty="0" err="1">
                          <a:solidFill>
                            <a:schemeClr val="tx1"/>
                          </a:solidFill>
                          <a:latin typeface="Calibri" panose="020F0502020204030204" pitchFamily="34" charset="0"/>
                          <a:cs typeface="Calibri" panose="020F0502020204030204" pitchFamily="34" charset="0"/>
                        </a:rPr>
                        <a:t>ơ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rình</a:t>
                      </a:r>
                      <a:r>
                        <a:rPr lang="en-US" sz="1000" b="0" dirty="0">
                          <a:solidFill>
                            <a:schemeClr val="tx1"/>
                          </a:solidFill>
                          <a:latin typeface="Calibri" panose="020F0502020204030204" pitchFamily="34" charset="0"/>
                          <a:cs typeface="Calibri" panose="020F0502020204030204" pitchFamily="34" charset="0"/>
                        </a:rPr>
                        <a:t> đ</a:t>
                      </a:r>
                      <a:r>
                        <a:rPr lang="vi-VN" sz="1000" b="0" dirty="0">
                          <a:solidFill>
                            <a:schemeClr val="tx1"/>
                          </a:solidFill>
                          <a:latin typeface="Calibri" panose="020F0502020204030204" pitchFamily="34" charset="0"/>
                          <a:cs typeface="Calibri" panose="020F0502020204030204" pitchFamily="34" charset="0"/>
                        </a:rPr>
                        <a:t>ư</a:t>
                      </a:r>
                      <a:r>
                        <a:rPr lang="en-US" sz="1000" b="0" dirty="0" err="1">
                          <a:solidFill>
                            <a:schemeClr val="tx1"/>
                          </a:solidFill>
                          <a:latin typeface="Calibri" panose="020F0502020204030204" pitchFamily="34" charset="0"/>
                          <a:cs typeface="Calibri" panose="020F0502020204030204" pitchFamily="34" charset="0"/>
                        </a:rPr>
                        <a:t>ợc</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xây</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dự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để</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sẵ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sà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quả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lý</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khủ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hoảng</a:t>
                      </a:r>
                      <a:r>
                        <a:rPr lang="en-US" sz="1000" b="0" dirty="0">
                          <a:solidFill>
                            <a:schemeClr val="tx1"/>
                          </a:solidFill>
                          <a:latin typeface="Calibri" panose="020F0502020204030204" pitchFamily="34" charset="0"/>
                          <a:cs typeface="Calibri" panose="020F0502020204030204" pitchFamily="34" charset="0"/>
                        </a:rPr>
                        <a:t> ở </a:t>
                      </a:r>
                      <a:r>
                        <a:rPr lang="en-US" sz="1000" b="0" dirty="0" err="1">
                          <a:solidFill>
                            <a:schemeClr val="tx1"/>
                          </a:solidFill>
                          <a:latin typeface="Calibri" panose="020F0502020204030204" pitchFamily="34" charset="0"/>
                          <a:cs typeface="Calibri" panose="020F0502020204030204" pitchFamily="34" charset="0"/>
                        </a:rPr>
                        <a:t>cấp</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độ</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công</a:t>
                      </a:r>
                      <a:r>
                        <a:rPr lang="en-US" sz="1000" b="0" dirty="0">
                          <a:solidFill>
                            <a:schemeClr val="tx1"/>
                          </a:solidFill>
                          <a:latin typeface="Calibri" panose="020F0502020204030204" pitchFamily="34" charset="0"/>
                          <a:cs typeface="Calibri" panose="020F0502020204030204" pitchFamily="34" charset="0"/>
                        </a:rPr>
                        <a:t> ty </a:t>
                      </a:r>
                      <a:r>
                        <a:rPr lang="en-US" sz="1000" b="0" dirty="0" err="1">
                          <a:solidFill>
                            <a:schemeClr val="tx1"/>
                          </a:solidFill>
                          <a:latin typeface="Calibri" panose="020F0502020204030204" pitchFamily="34" charset="0"/>
                          <a:cs typeface="Calibri" panose="020F0502020204030204" pitchFamily="34" charset="0"/>
                        </a:rPr>
                        <a:t>khi</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rủi</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ro</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rọ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yếu</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xảy</a:t>
                      </a:r>
                      <a:r>
                        <a:rPr lang="en-US" sz="1000" b="0" dirty="0">
                          <a:solidFill>
                            <a:schemeClr val="tx1"/>
                          </a:solidFill>
                          <a:latin typeface="Calibri" panose="020F0502020204030204" pitchFamily="34" charset="0"/>
                          <a:cs typeface="Calibri" panose="020F0502020204030204" pitchFamily="34" charset="0"/>
                        </a:rPr>
                        <a:t> ra. </a:t>
                      </a:r>
                      <a:r>
                        <a:rPr lang="en-US" sz="1000" b="0" dirty="0" err="1">
                          <a:solidFill>
                            <a:schemeClr val="tx1"/>
                          </a:solidFill>
                          <a:latin typeface="Calibri" panose="020F0502020204030204" pitchFamily="34" charset="0"/>
                          <a:cs typeface="Calibri" panose="020F0502020204030204" pitchFamily="34" charset="0"/>
                        </a:rPr>
                        <a:t>Một</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kế</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hoạch</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quả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lý</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ất</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cả</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các</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mối</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nguy</a:t>
                      </a:r>
                      <a:r>
                        <a:rPr lang="en-US" sz="1000" b="0" dirty="0">
                          <a:solidFill>
                            <a:schemeClr val="tx1"/>
                          </a:solidFill>
                          <a:latin typeface="Calibri" panose="020F0502020204030204" pitchFamily="34" charset="0"/>
                          <a:cs typeface="Calibri" panose="020F0502020204030204" pitchFamily="34" charset="0"/>
                        </a:rPr>
                        <a:t>”</a:t>
                      </a:r>
                    </a:p>
                  </a:txBody>
                  <a:tcPr marL="51435" marR="51435" marT="77153" marB="77153">
                    <a:lnL w="12700" cmpd="sng">
                      <a:noFill/>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1830630"/>
                  </a:ext>
                </a:extLst>
              </a:tr>
              <a:tr h="5845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err="1">
                          <a:solidFill>
                            <a:schemeClr val="tx1"/>
                          </a:solidFill>
                          <a:latin typeface="Calibri" panose="020F0502020204030204" pitchFamily="34" charset="0"/>
                          <a:cs typeface="Calibri" panose="020F0502020204030204" pitchFamily="34" charset="0"/>
                        </a:rPr>
                        <a:t>Mục</a:t>
                      </a:r>
                      <a:r>
                        <a:rPr lang="en-US" sz="1000" b="0" i="0" dirty="0">
                          <a:solidFill>
                            <a:schemeClr val="tx1"/>
                          </a:solidFill>
                          <a:latin typeface="Calibri" panose="020F0502020204030204" pitchFamily="34" charset="0"/>
                          <a:cs typeface="Calibri" panose="020F0502020204030204" pitchFamily="34" charset="0"/>
                        </a:rPr>
                        <a:t> </a:t>
                      </a:r>
                      <a:r>
                        <a:rPr lang="en-US" sz="1000" b="0" i="0" dirty="0" err="1">
                          <a:solidFill>
                            <a:schemeClr val="tx1"/>
                          </a:solidFill>
                          <a:latin typeface="Calibri" panose="020F0502020204030204" pitchFamily="34" charset="0"/>
                          <a:cs typeface="Calibri" panose="020F0502020204030204" pitchFamily="34" charset="0"/>
                        </a:rPr>
                        <a:t>tiêu</a:t>
                      </a:r>
                      <a:endParaRPr lang="en-US" sz="1000" b="0" i="0" dirty="0">
                        <a:solidFill>
                          <a:schemeClr val="tx1"/>
                        </a:solidFill>
                        <a:latin typeface="Calibri" panose="020F0502020204030204" pitchFamily="34" charset="0"/>
                        <a:cs typeface="Calibri" panose="020F0502020204030204" pitchFamily="34" charset="0"/>
                      </a:endParaRPr>
                    </a:p>
                  </a:txBody>
                  <a:tcPr marL="51435" marR="51435" marT="77153" marB="77153" vert="vert270"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D0D0C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baseline="0" dirty="0" err="1">
                          <a:solidFill>
                            <a:schemeClr val="tx1"/>
                          </a:solidFill>
                          <a:latin typeface="Calibri" panose="020F0502020204030204" pitchFamily="34" charset="0"/>
                          <a:cs typeface="Calibri" panose="020F0502020204030204" pitchFamily="34" charset="0"/>
                        </a:rPr>
                        <a:t>Cân</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bằng</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giữ</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rủi</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ro</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và</a:t>
                      </a:r>
                      <a:r>
                        <a:rPr lang="en-US" sz="1000" b="0" baseline="0" dirty="0">
                          <a:solidFill>
                            <a:schemeClr val="tx1"/>
                          </a:solidFill>
                          <a:latin typeface="Calibri" panose="020F0502020204030204" pitchFamily="34" charset="0"/>
                          <a:cs typeface="Calibri" panose="020F0502020204030204" pitchFamily="34" charset="0"/>
                        </a:rPr>
                        <a:t> c</a:t>
                      </a:r>
                      <a:r>
                        <a:rPr lang="vi-VN" sz="1000" b="0" baseline="0" dirty="0">
                          <a:solidFill>
                            <a:schemeClr val="tx1"/>
                          </a:solidFill>
                          <a:latin typeface="Calibri" panose="020F0502020204030204" pitchFamily="34" charset="0"/>
                          <a:cs typeface="Calibri" panose="020F0502020204030204" pitchFamily="34" charset="0"/>
                        </a:rPr>
                        <a:t>ơ</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hội</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để</a:t>
                      </a:r>
                      <a:r>
                        <a:rPr lang="en-US" sz="1000" b="0" baseline="0" dirty="0">
                          <a:solidFill>
                            <a:schemeClr val="tx1"/>
                          </a:solidFill>
                          <a:latin typeface="Calibri" panose="020F0502020204030204" pitchFamily="34" charset="0"/>
                          <a:cs typeface="Calibri" panose="020F0502020204030204" pitchFamily="34" charset="0"/>
                        </a:rPr>
                        <a:t> h</a:t>
                      </a:r>
                      <a:r>
                        <a:rPr lang="vi-VN" sz="1000" b="0" baseline="0" dirty="0">
                          <a:solidFill>
                            <a:schemeClr val="tx1"/>
                          </a:solidFill>
                          <a:latin typeface="Calibri" panose="020F0502020204030204" pitchFamily="34" charset="0"/>
                          <a:cs typeface="Calibri" panose="020F0502020204030204" pitchFamily="34" charset="0"/>
                        </a:rPr>
                        <a:t>ư</a:t>
                      </a:r>
                      <a:r>
                        <a:rPr lang="en-US" sz="1000" b="0" baseline="0" dirty="0" err="1">
                          <a:solidFill>
                            <a:schemeClr val="tx1"/>
                          </a:solidFill>
                          <a:latin typeface="Calibri" panose="020F0502020204030204" pitchFamily="34" charset="0"/>
                          <a:cs typeface="Calibri" panose="020F0502020204030204" pitchFamily="34" charset="0"/>
                        </a:rPr>
                        <a:t>ớng</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tới</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hoàn</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thành</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mục</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tiêu</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của</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doanh</a:t>
                      </a:r>
                      <a:r>
                        <a:rPr lang="en-US" sz="1000" b="0" baseline="0" dirty="0">
                          <a:solidFill>
                            <a:schemeClr val="tx1"/>
                          </a:solidFill>
                          <a:latin typeface="Calibri" panose="020F0502020204030204" pitchFamily="34" charset="0"/>
                          <a:cs typeface="Calibri" panose="020F0502020204030204" pitchFamily="34" charset="0"/>
                        </a:rPr>
                        <a:t> </a:t>
                      </a:r>
                      <a:r>
                        <a:rPr lang="en-US" sz="1000" b="0" baseline="0" dirty="0" err="1">
                          <a:solidFill>
                            <a:schemeClr val="tx1"/>
                          </a:solidFill>
                          <a:latin typeface="Calibri" panose="020F0502020204030204" pitchFamily="34" charset="0"/>
                          <a:cs typeface="Calibri" panose="020F0502020204030204" pitchFamily="34" charset="0"/>
                        </a:rPr>
                        <a:t>nghiệp</a:t>
                      </a:r>
                      <a:endParaRPr lang="en-US" sz="1000" b="0" i="1" dirty="0">
                        <a:solidFill>
                          <a:schemeClr val="tx1"/>
                        </a:solidFill>
                        <a:latin typeface="Calibri" panose="020F0502020204030204" pitchFamily="34" charset="0"/>
                        <a:cs typeface="Calibri" panose="020F0502020204030204" pitchFamily="34" charset="0"/>
                      </a:endParaRPr>
                    </a:p>
                  </a:txBody>
                  <a:tcPr marL="51435" marR="51435" marT="77153" marB="77153">
                    <a:lnL w="12700" cap="flat" cmpd="sng" algn="ctr">
                      <a:solidFill>
                        <a:srgbClr val="53565A"/>
                      </a:solid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err="1">
                          <a:latin typeface="Calibri" panose="020F0502020204030204" pitchFamily="34" charset="0"/>
                          <a:cs typeface="Calibri" panose="020F0502020204030204" pitchFamily="34" charset="0"/>
                        </a:rPr>
                        <a:t>Kiểm</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soá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iệu</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quả</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ác</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sự</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ố</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để</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giảm</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hiệ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ại</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mộ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á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ố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nhất</a:t>
                      </a:r>
                      <a:endParaRPr lang="en-US" sz="10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aseline="0" dirty="0" err="1">
                          <a:latin typeface="Calibri" panose="020F0502020204030204" pitchFamily="34" charset="0"/>
                          <a:cs typeface="Calibri" panose="020F0502020204030204" pitchFamily="34" charset="0"/>
                        </a:rPr>
                        <a:t>Nhanh</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chóng</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khôi</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phụ</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và</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bảo</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hệ</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hạ</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ầng</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về</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công</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nghệ</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hông</a:t>
                      </a:r>
                      <a:r>
                        <a:rPr lang="en-US" sz="1000" baseline="0" dirty="0">
                          <a:latin typeface="Calibri" panose="020F0502020204030204" pitchFamily="34" charset="0"/>
                          <a:cs typeface="Calibri" panose="020F0502020204030204" pitchFamily="34" charset="0"/>
                        </a:rPr>
                        <a:t> tin</a:t>
                      </a:r>
                      <a:endParaRPr lang="en-US" sz="10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err="1">
                          <a:latin typeface="Calibri" panose="020F0502020204030204" pitchFamily="34" charset="0"/>
                          <a:cs typeface="Calibri" panose="020F0502020204030204" pitchFamily="34" charset="0"/>
                        </a:rPr>
                        <a:t>Khôi</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phục</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nhan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ác</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ạ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độ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à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ngày</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khi</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ác</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sự</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ố</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ro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ạ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độ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kin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doan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xảy</a:t>
                      </a:r>
                      <a:r>
                        <a:rPr lang="en-US" sz="1000" dirty="0">
                          <a:latin typeface="Calibri" panose="020F0502020204030204" pitchFamily="34" charset="0"/>
                          <a:cs typeface="Calibri" panose="020F0502020204030204" pitchFamily="34" charset="0"/>
                        </a:rPr>
                        <a:t> ra</a:t>
                      </a:r>
                      <a:endParaRPr lang="en-US" sz="100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err="1">
                          <a:solidFill>
                            <a:schemeClr val="tx1"/>
                          </a:solidFill>
                          <a:latin typeface="Calibri" panose="020F0502020204030204" pitchFamily="34" charset="0"/>
                          <a:cs typeface="Calibri" panose="020F0502020204030204" pitchFamily="34" charset="0"/>
                        </a:rPr>
                        <a:t>Phản</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ứ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lại</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các</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mối</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nguy</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để</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bảo</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vệ</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duy</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rì</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giá</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rị</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và</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th</a:t>
                      </a:r>
                      <a:r>
                        <a:rPr lang="vi-VN" sz="1000" b="0" dirty="0">
                          <a:solidFill>
                            <a:schemeClr val="tx1"/>
                          </a:solidFill>
                          <a:latin typeface="Calibri" panose="020F0502020204030204" pitchFamily="34" charset="0"/>
                          <a:cs typeface="Calibri" panose="020F0502020204030204" pitchFamily="34" charset="0"/>
                        </a:rPr>
                        <a:t>ư</a:t>
                      </a:r>
                      <a:r>
                        <a:rPr lang="en-US" sz="1000" b="0" dirty="0" err="1">
                          <a:solidFill>
                            <a:schemeClr val="tx1"/>
                          </a:solidFill>
                          <a:latin typeface="Calibri" panose="020F0502020204030204" pitchFamily="34" charset="0"/>
                          <a:cs typeface="Calibri" panose="020F0502020204030204" pitchFamily="34" charset="0"/>
                        </a:rPr>
                        <a:t>ơng</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hiệu</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doanh</a:t>
                      </a:r>
                      <a:r>
                        <a:rPr lang="en-US" sz="1000" b="0" dirty="0">
                          <a:solidFill>
                            <a:schemeClr val="tx1"/>
                          </a:solidFill>
                          <a:latin typeface="Calibri" panose="020F0502020204030204" pitchFamily="34" charset="0"/>
                          <a:cs typeface="Calibri" panose="020F0502020204030204" pitchFamily="34" charset="0"/>
                        </a:rPr>
                        <a:t> </a:t>
                      </a:r>
                      <a:r>
                        <a:rPr lang="en-US" sz="1000" b="0" dirty="0" err="1">
                          <a:solidFill>
                            <a:schemeClr val="tx1"/>
                          </a:solidFill>
                          <a:latin typeface="Calibri" panose="020F0502020204030204" pitchFamily="34" charset="0"/>
                          <a:cs typeface="Calibri" panose="020F0502020204030204" pitchFamily="34" charset="0"/>
                        </a:rPr>
                        <a:t>nghiệp</a:t>
                      </a:r>
                      <a:endParaRPr lang="en-US" sz="1000" b="0" dirty="0">
                        <a:solidFill>
                          <a:schemeClr val="tx1"/>
                        </a:solidFill>
                        <a:latin typeface="Calibri" panose="020F0502020204030204" pitchFamily="34" charset="0"/>
                        <a:cs typeface="Calibri" panose="020F0502020204030204" pitchFamily="34" charset="0"/>
                      </a:endParaRPr>
                    </a:p>
                  </a:txBody>
                  <a:tcPr marL="51435" marR="51435" marT="77153" marB="77153">
                    <a:lnL w="12700" cmpd="sng">
                      <a:noFill/>
                    </a:lnL>
                    <a:lnR w="12700" cap="flat" cmpd="sng" algn="ctr">
                      <a:solidFill>
                        <a:srgbClr val="53565A"/>
                      </a:solidFill>
                      <a:prstDash val="solid"/>
                      <a:round/>
                      <a:headEnd type="none" w="med" len="med"/>
                      <a:tailEnd type="none" w="med" len="med"/>
                    </a:lnR>
                    <a:lnT w="6350" cap="flat" cmpd="sng" algn="ctr">
                      <a:solidFill>
                        <a:srgbClr val="53565A"/>
                      </a:solidFill>
                      <a:prstDash val="solid"/>
                      <a:round/>
                      <a:headEnd type="none" w="med" len="med"/>
                      <a:tailEnd type="none" w="med" len="med"/>
                    </a:lnT>
                    <a:lnB w="635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6747670"/>
                  </a:ext>
                </a:extLst>
              </a:tr>
              <a:tr h="685800">
                <a:tc>
                  <a:txBody>
                    <a:bodyPr/>
                    <a:lstStyle/>
                    <a:p>
                      <a:pPr marL="0" indent="0" algn="ctr">
                        <a:buFont typeface="Arial" panose="020B0604020202020204" pitchFamily="34" charset="0"/>
                        <a:buNone/>
                      </a:pPr>
                      <a:r>
                        <a:rPr lang="en-US" sz="1000" b="0" i="0" baseline="0" dirty="0" err="1">
                          <a:latin typeface="Calibri" panose="020F0502020204030204" pitchFamily="34" charset="0"/>
                          <a:cs typeface="Calibri" panose="020F0502020204030204" pitchFamily="34" charset="0"/>
                        </a:rPr>
                        <a:t>Hoạt</a:t>
                      </a:r>
                      <a:r>
                        <a:rPr lang="en-US" sz="1000" b="0" i="0" baseline="0" dirty="0">
                          <a:latin typeface="Calibri" panose="020F0502020204030204" pitchFamily="34" charset="0"/>
                          <a:cs typeface="Calibri" panose="020F0502020204030204" pitchFamily="34" charset="0"/>
                        </a:rPr>
                        <a:t> </a:t>
                      </a:r>
                      <a:r>
                        <a:rPr lang="en-US" sz="1000" b="0" i="0" baseline="0" dirty="0" err="1">
                          <a:latin typeface="Calibri" panose="020F0502020204030204" pitchFamily="34" charset="0"/>
                          <a:cs typeface="Calibri" panose="020F0502020204030204" pitchFamily="34" charset="0"/>
                        </a:rPr>
                        <a:t>động</a:t>
                      </a:r>
                      <a:endParaRPr lang="en-US" sz="1000" b="0" i="0" baseline="0" dirty="0">
                        <a:latin typeface="Calibri" panose="020F0502020204030204" pitchFamily="34" charset="0"/>
                        <a:cs typeface="Calibri" panose="020F0502020204030204" pitchFamily="34" charset="0"/>
                      </a:endParaRPr>
                    </a:p>
                  </a:txBody>
                  <a:tcPr marL="51435" marR="51435" marT="77153" marB="77153" vert="vert270" anchor="ctr">
                    <a:lnL w="12700" cap="flat" cmpd="sng" algn="ctr">
                      <a:solidFill>
                        <a:srgbClr val="53565A"/>
                      </a:solidFill>
                      <a:prstDash val="solid"/>
                      <a:round/>
                      <a:headEnd type="none" w="med" len="med"/>
                      <a:tailEnd type="none" w="med" len="med"/>
                    </a:lnL>
                    <a:lnR w="12700" cap="flat" cmpd="sng" algn="ctr">
                      <a:solidFill>
                        <a:srgbClr val="53565A"/>
                      </a:solidFill>
                      <a:prstDash val="solid"/>
                      <a:round/>
                      <a:headEnd type="none" w="med" len="med"/>
                      <a:tailEnd type="none" w="med" len="med"/>
                    </a:lnR>
                    <a:lnT w="1270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solidFill>
                      <a:srgbClr val="D0D0CE"/>
                    </a:solidFill>
                  </a:tcPr>
                </a:tc>
                <a:tc>
                  <a:txBody>
                    <a:bodyPr/>
                    <a:lstStyle/>
                    <a:p>
                      <a:pPr marL="91440" indent="-91440">
                        <a:buFont typeface="Arial" panose="020B0604020202020204" pitchFamily="34" charset="0"/>
                        <a:buChar char="•"/>
                      </a:pPr>
                      <a:r>
                        <a:rPr lang="en-US" sz="1000" baseline="0" dirty="0" err="1">
                          <a:latin typeface="Calibri" panose="020F0502020204030204" pitchFamily="34" charset="0"/>
                          <a:cs typeface="Calibri" panose="020F0502020204030204" pitchFamily="34" charset="0"/>
                        </a:rPr>
                        <a:t>Nhận</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diện</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rủi</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ro</a:t>
                      </a:r>
                      <a:endParaRPr lang="en-US" sz="1000" baseline="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000" baseline="0" dirty="0" err="1">
                          <a:latin typeface="Calibri" panose="020F0502020204030204" pitchFamily="34" charset="0"/>
                          <a:cs typeface="Calibri" panose="020F0502020204030204" pitchFamily="34" charset="0"/>
                        </a:rPr>
                        <a:t>Xây</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dựng</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mức</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độ</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chấp</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nhận</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rủi</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ro</a:t>
                      </a:r>
                      <a:endParaRPr lang="en-US" sz="1000" baseline="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000" baseline="0" dirty="0" err="1">
                          <a:latin typeface="Calibri" panose="020F0502020204030204" pitchFamily="34" charset="0"/>
                          <a:cs typeface="Calibri" panose="020F0502020204030204" pitchFamily="34" charset="0"/>
                        </a:rPr>
                        <a:t>Quản</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rị</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rủi</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ro</a:t>
                      </a:r>
                      <a:endParaRPr lang="en-US" sz="1000" baseline="0" dirty="0">
                        <a:latin typeface="Calibri" panose="020F0502020204030204" pitchFamily="34" charset="0"/>
                        <a:cs typeface="Calibri" panose="020F0502020204030204" pitchFamily="34" charset="0"/>
                      </a:endParaRPr>
                    </a:p>
                  </a:txBody>
                  <a:tcPr marL="51435" marR="51435" marT="77153" marB="77153">
                    <a:lnL w="12700" cap="flat" cmpd="sng" algn="ctr">
                      <a:solidFill>
                        <a:srgbClr val="53565A"/>
                      </a:solidFill>
                      <a:prstDash val="solid"/>
                      <a:round/>
                      <a:headEnd type="none" w="med" len="med"/>
                      <a:tailEnd type="none" w="med" len="med"/>
                    </a:lnL>
                    <a:lnR w="76200" cap="flat" cmpd="sng" algn="ctr">
                      <a:noFill/>
                      <a:prstDash val="solid"/>
                      <a:round/>
                      <a:headEnd type="none" w="med" len="med"/>
                      <a:tailEnd type="none" w="med" len="med"/>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000" dirty="0" err="1">
                          <a:latin typeface="Calibri" panose="020F0502020204030204" pitchFamily="34" charset="0"/>
                          <a:cs typeface="Calibri" panose="020F0502020204030204" pitchFamily="34" charset="0"/>
                        </a:rPr>
                        <a:t>Kế</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ạ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quản</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lý</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sự</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ố</a:t>
                      </a:r>
                      <a:endParaRPr lang="en-US" sz="100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000" dirty="0" err="1">
                          <a:latin typeface="Calibri" panose="020F0502020204030204" pitchFamily="34" charset="0"/>
                          <a:cs typeface="Calibri" panose="020F0502020204030204" pitchFamily="34" charset="0"/>
                        </a:rPr>
                        <a:t>Bảo</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rì</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ệ</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hống</a:t>
                      </a:r>
                      <a:r>
                        <a:rPr lang="en-US" sz="1000" baseline="0" dirty="0">
                          <a:latin typeface="Calibri" panose="020F0502020204030204" pitchFamily="34" charset="0"/>
                          <a:cs typeface="Calibri" panose="020F0502020204030204" pitchFamily="34" charset="0"/>
                        </a:rPr>
                        <a:t> ….</a:t>
                      </a:r>
                      <a:endParaRPr lang="en-US" sz="1000" dirty="0">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000" dirty="0" err="1">
                          <a:latin typeface="Calibri" panose="020F0502020204030204" pitchFamily="34" charset="0"/>
                          <a:cs typeface="Calibri" panose="020F0502020204030204" pitchFamily="34" charset="0"/>
                        </a:rPr>
                        <a:t>Dan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sá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các</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ạ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mục</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khôi</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phục</a:t>
                      </a:r>
                      <a:endParaRPr lang="en-US" sz="1000" dirty="0">
                        <a:latin typeface="Calibri" panose="020F0502020204030204" pitchFamily="34" charset="0"/>
                        <a:cs typeface="Calibri" panose="020F0502020204030204" pitchFamily="34" charset="0"/>
                      </a:endParaRPr>
                    </a:p>
                    <a:p>
                      <a:pPr marL="91440" indent="-91440">
                        <a:buFont typeface="Arial" panose="020B0604020202020204" pitchFamily="34" charset="0"/>
                        <a:buChar char="•"/>
                      </a:pPr>
                      <a:r>
                        <a:rPr lang="en-US" sz="1000" baseline="0" dirty="0" err="1">
                          <a:latin typeface="Calibri" panose="020F0502020204030204" pitchFamily="34" charset="0"/>
                          <a:cs typeface="Calibri" panose="020F0502020204030204" pitchFamily="34" charset="0"/>
                        </a:rPr>
                        <a:t>Thực</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hiện</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các</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ình</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huống</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sự</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cố</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giả</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lập</a:t>
                      </a:r>
                      <a:endParaRPr lang="en-US" sz="1000" dirty="0">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indent="-91440">
                        <a:buFont typeface="Arial" panose="020B0604020202020204" pitchFamily="34" charset="0"/>
                        <a:buChar char="•"/>
                      </a:pPr>
                      <a:r>
                        <a:rPr lang="en-US" sz="1000" dirty="0" err="1">
                          <a:latin typeface="Calibri" panose="020F0502020204030204" pitchFamily="34" charset="0"/>
                          <a:cs typeface="Calibri" panose="020F0502020204030204" pitchFamily="34" charset="0"/>
                        </a:rPr>
                        <a:t>Phân</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í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ảnh</a:t>
                      </a:r>
                      <a:r>
                        <a:rPr lang="en-US" sz="1000" dirty="0">
                          <a:latin typeface="Calibri" panose="020F0502020204030204" pitchFamily="34" charset="0"/>
                          <a:cs typeface="Calibri" panose="020F0502020204030204" pitchFamily="34" charset="0"/>
                        </a:rPr>
                        <a:t> h</a:t>
                      </a:r>
                      <a:r>
                        <a:rPr lang="vi-VN" sz="1000" dirty="0">
                          <a:latin typeface="Calibri" panose="020F0502020204030204" pitchFamily="34" charset="0"/>
                          <a:cs typeface="Calibri" panose="020F0502020204030204" pitchFamily="34" charset="0"/>
                        </a:rPr>
                        <a:t>ư</a:t>
                      </a:r>
                      <a:r>
                        <a:rPr lang="en-US" sz="1000" dirty="0" err="1">
                          <a:latin typeface="Calibri" panose="020F0502020204030204" pitchFamily="34" charset="0"/>
                          <a:cs typeface="Calibri" panose="020F0502020204030204" pitchFamily="34" charset="0"/>
                        </a:rPr>
                        <a:t>ở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đến</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ạt</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độ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kin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doanh</a:t>
                      </a:r>
                      <a:endParaRPr lang="en-US" sz="1000" baseline="0" dirty="0">
                        <a:latin typeface="Calibri" panose="020F0502020204030204" pitchFamily="34" charset="0"/>
                        <a:cs typeface="Calibri" panose="020F0502020204030204" pitchFamily="34" charset="0"/>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a:latin typeface="Calibri" panose="020F0502020204030204" pitchFamily="34" charset="0"/>
                          <a:cs typeface="Calibri" panose="020F0502020204030204" pitchFamily="34" charset="0"/>
                        </a:rPr>
                        <a:t>Kế</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hoạch</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khôi</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phục</a:t>
                      </a:r>
                      <a:endParaRPr lang="en-US" sz="1000" baseline="0" dirty="0">
                        <a:latin typeface="Calibri" panose="020F0502020204030204" pitchFamily="34" charset="0"/>
                        <a:cs typeface="Calibri" panose="020F0502020204030204" pitchFamily="34" charset="0"/>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err="1">
                          <a:latin typeface="Calibri" panose="020F0502020204030204" pitchFamily="34" charset="0"/>
                          <a:cs typeface="Calibri" panose="020F0502020204030204" pitchFamily="34" charset="0"/>
                        </a:rPr>
                        <a:t>Đào</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ạo</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và</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hực</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tập</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các</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giả</a:t>
                      </a:r>
                      <a:r>
                        <a:rPr lang="en-US" sz="1000" baseline="0" dirty="0">
                          <a:latin typeface="Calibri" panose="020F0502020204030204" pitchFamily="34" charset="0"/>
                          <a:cs typeface="Calibri" panose="020F0502020204030204" pitchFamily="34" charset="0"/>
                        </a:rPr>
                        <a:t> </a:t>
                      </a:r>
                      <a:r>
                        <a:rPr lang="en-US" sz="1000" baseline="0" dirty="0" err="1">
                          <a:latin typeface="Calibri" panose="020F0502020204030204" pitchFamily="34" charset="0"/>
                          <a:cs typeface="Calibri" panose="020F0502020204030204" pitchFamily="34" charset="0"/>
                        </a:rPr>
                        <a:t>định</a:t>
                      </a:r>
                      <a:endParaRPr lang="en-US" sz="1000" baseline="0" dirty="0">
                        <a:latin typeface="Calibri" panose="020F0502020204030204" pitchFamily="34" charset="0"/>
                        <a:cs typeface="Calibri" panose="020F0502020204030204" pitchFamily="34" charset="0"/>
                      </a:endParaRPr>
                    </a:p>
                  </a:txBody>
                  <a:tcPr marL="51435" marR="51435" marT="77153" marB="77153">
                    <a:lnL w="12700" cmpd="sng">
                      <a:noFill/>
                    </a:lnL>
                    <a:lnR w="12700" cmpd="sng">
                      <a:noFill/>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err="1">
                          <a:latin typeface="Calibri" panose="020F0502020204030204" pitchFamily="34" charset="0"/>
                          <a:cs typeface="Calibri" panose="020F0502020204030204" pitchFamily="34" charset="0"/>
                        </a:rPr>
                        <a:t>Kế</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ạ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đối</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phó</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với</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khủ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ảng</a:t>
                      </a:r>
                      <a:endParaRPr lang="en-US" sz="1000" dirty="0">
                        <a:latin typeface="Calibri" panose="020F0502020204030204" pitchFamily="34" charset="0"/>
                        <a:cs typeface="Calibri" panose="020F0502020204030204" pitchFamily="34" charset="0"/>
                      </a:endParaRP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err="1">
                          <a:latin typeface="Calibri" panose="020F0502020204030204" pitchFamily="34" charset="0"/>
                          <a:cs typeface="Calibri" panose="020F0502020204030204" pitchFamily="34" charset="0"/>
                        </a:rPr>
                        <a:t>Kế</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ạ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dự</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phòng</a:t>
                      </a:r>
                      <a:r>
                        <a:rPr lang="en-US" sz="1000" dirty="0">
                          <a:latin typeface="Calibri" panose="020F0502020204030204" pitchFamily="34" charset="0"/>
                          <a:cs typeface="Calibri" panose="020F0502020204030204" pitchFamily="34" charset="0"/>
                        </a:rPr>
                        <a:t> </a:t>
                      </a:r>
                    </a:p>
                    <a:p>
                      <a:pPr marL="91440" marR="0" lvl="0" indent="-914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err="1">
                          <a:latin typeface="Calibri" panose="020F0502020204030204" pitchFamily="34" charset="0"/>
                          <a:cs typeface="Calibri" panose="020F0502020204030204" pitchFamily="34" charset="0"/>
                        </a:rPr>
                        <a:t>Phân</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tích</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giả</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lập</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khủng</a:t>
                      </a:r>
                      <a:r>
                        <a:rPr lang="en-US" sz="1000" dirty="0">
                          <a:latin typeface="Calibri" panose="020F0502020204030204" pitchFamily="34" charset="0"/>
                          <a:cs typeface="Calibri" panose="020F0502020204030204" pitchFamily="34" charset="0"/>
                        </a:rPr>
                        <a:t> </a:t>
                      </a:r>
                      <a:r>
                        <a:rPr lang="en-US" sz="1000" dirty="0" err="1">
                          <a:latin typeface="Calibri" panose="020F0502020204030204" pitchFamily="34" charset="0"/>
                          <a:cs typeface="Calibri" panose="020F0502020204030204" pitchFamily="34" charset="0"/>
                        </a:rPr>
                        <a:t>hoảng</a:t>
                      </a:r>
                      <a:endParaRPr lang="en-US" sz="1000" dirty="0">
                        <a:latin typeface="Calibri" panose="020F0502020204030204" pitchFamily="34" charset="0"/>
                        <a:cs typeface="Calibri" panose="020F0502020204030204" pitchFamily="34" charset="0"/>
                      </a:endParaRPr>
                    </a:p>
                  </a:txBody>
                  <a:tcPr marL="51435" marR="51435" marT="77153" marB="77153">
                    <a:lnL w="12700" cmpd="sng">
                      <a:noFill/>
                    </a:lnL>
                    <a:lnR w="12700" cap="flat" cmpd="sng" algn="ctr">
                      <a:solidFill>
                        <a:srgbClr val="53565A"/>
                      </a:solidFill>
                      <a:prstDash val="solid"/>
                      <a:round/>
                      <a:headEnd type="none" w="med" len="med"/>
                      <a:tailEnd type="none" w="med" len="med"/>
                    </a:lnR>
                    <a:lnT w="6350" cap="flat" cmpd="sng" algn="ctr">
                      <a:solidFill>
                        <a:srgbClr val="53565A"/>
                      </a:solidFill>
                      <a:prstDash val="solid"/>
                      <a:round/>
                      <a:headEnd type="none" w="med" len="med"/>
                      <a:tailEnd type="none" w="med" len="med"/>
                    </a:lnT>
                    <a:lnB w="12700" cap="flat" cmpd="sng" algn="ctr">
                      <a:solidFill>
                        <a:srgbClr val="53565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2958174"/>
                  </a:ext>
                </a:extLst>
              </a:tr>
            </a:tbl>
          </a:graphicData>
        </a:graphic>
      </p:graphicFrame>
      <p:grpSp>
        <p:nvGrpSpPr>
          <p:cNvPr id="2" name="Group 1">
            <a:extLst>
              <a:ext uri="{FF2B5EF4-FFF2-40B4-BE49-F238E27FC236}">
                <a16:creationId xmlns:a16="http://schemas.microsoft.com/office/drawing/2014/main" id="{9FBC0DBA-8EF4-4963-B0D7-5595E808F8C5}"/>
              </a:ext>
            </a:extLst>
          </p:cNvPr>
          <p:cNvGrpSpPr/>
          <p:nvPr/>
        </p:nvGrpSpPr>
        <p:grpSpPr>
          <a:xfrm>
            <a:off x="547418" y="1649822"/>
            <a:ext cx="10850008" cy="2535711"/>
            <a:chOff x="1075586" y="1775105"/>
            <a:chExt cx="10313774" cy="2090506"/>
          </a:xfrm>
        </p:grpSpPr>
        <p:sp>
          <p:nvSpPr>
            <p:cNvPr id="174" name="Rectangle 173">
              <a:extLst>
                <a:ext uri="{FF2B5EF4-FFF2-40B4-BE49-F238E27FC236}">
                  <a16:creationId xmlns:a16="http://schemas.microsoft.com/office/drawing/2014/main" id="{66972AA4-E037-48B1-B35C-E1D8976FA1AA}"/>
                </a:ext>
              </a:extLst>
            </p:cNvPr>
            <p:cNvSpPr/>
            <p:nvPr/>
          </p:nvSpPr>
          <p:spPr>
            <a:xfrm>
              <a:off x="3820887" y="2739900"/>
              <a:ext cx="7372358" cy="833947"/>
            </a:xfrm>
            <a:prstGeom prst="rect">
              <a:avLst/>
            </a:prstGeom>
            <a:solidFill>
              <a:srgbClr val="53565A"/>
            </a:solidFill>
            <a:ln w="9525" algn="ctr">
              <a:noFill/>
              <a:miter lim="800000"/>
              <a:headEnd/>
              <a:tailEnd/>
            </a:ln>
            <a:effectLst/>
          </p:spPr>
          <p:txBody>
            <a:bodyPr rot="0" spcFirstLastPara="0" vert="horz" wrap="square" lIns="40500" tIns="20250" rIns="30375" bIns="2025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5000"/>
                </a:lnSpc>
                <a:spcBef>
                  <a:spcPts val="0"/>
                </a:spcBef>
                <a:spcAft>
                  <a:spcPts val="563"/>
                </a:spcAft>
                <a:buClrTx/>
                <a:buSzTx/>
                <a:buFontTx/>
                <a:buNone/>
                <a:tabLst/>
                <a:defRPr/>
              </a:pPr>
              <a:r>
                <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p:txBody>
        </p:sp>
        <p:cxnSp>
          <p:nvCxnSpPr>
            <p:cNvPr id="175" name="Straight Connector 174">
              <a:extLst>
                <a:ext uri="{FF2B5EF4-FFF2-40B4-BE49-F238E27FC236}">
                  <a16:creationId xmlns:a16="http://schemas.microsoft.com/office/drawing/2014/main" id="{03F5B606-093D-49B8-89CE-98D932487A00}"/>
                </a:ext>
              </a:extLst>
            </p:cNvPr>
            <p:cNvCxnSpPr>
              <a:cxnSpLocks/>
            </p:cNvCxnSpPr>
            <p:nvPr/>
          </p:nvCxnSpPr>
          <p:spPr>
            <a:xfrm flipV="1">
              <a:off x="1397524" y="2727419"/>
              <a:ext cx="979230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6" name="Text Box 2">
              <a:extLst>
                <a:ext uri="{FF2B5EF4-FFF2-40B4-BE49-F238E27FC236}">
                  <a16:creationId xmlns:a16="http://schemas.microsoft.com/office/drawing/2014/main" id="{5101B24E-7A6F-4F74-942F-CC6E334B85E5}"/>
                </a:ext>
              </a:extLst>
            </p:cNvPr>
            <p:cNvSpPr txBox="1">
              <a:spLocks noChangeArrowheads="1"/>
            </p:cNvSpPr>
            <p:nvPr/>
          </p:nvSpPr>
          <p:spPr bwMode="auto">
            <a:xfrm>
              <a:off x="10331559" y="2773770"/>
              <a:ext cx="1057801" cy="21969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ERM</a:t>
              </a:r>
            </a:p>
          </p:txBody>
        </p:sp>
        <p:sp>
          <p:nvSpPr>
            <p:cNvPr id="177" name="Freeform 23">
              <a:extLst>
                <a:ext uri="{FF2B5EF4-FFF2-40B4-BE49-F238E27FC236}">
                  <a16:creationId xmlns:a16="http://schemas.microsoft.com/office/drawing/2014/main" id="{78A28307-9315-4C8C-89A8-BDB4616CA9B3}"/>
                </a:ext>
              </a:extLst>
            </p:cNvPr>
            <p:cNvSpPr/>
            <p:nvPr/>
          </p:nvSpPr>
          <p:spPr>
            <a:xfrm>
              <a:off x="4916473" y="1809545"/>
              <a:ext cx="4685249" cy="1764316"/>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6FC2B4"/>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78" name="Freeform 24">
              <a:extLst>
                <a:ext uri="{FF2B5EF4-FFF2-40B4-BE49-F238E27FC236}">
                  <a16:creationId xmlns:a16="http://schemas.microsoft.com/office/drawing/2014/main" id="{D61A8451-2E61-49E6-9AC4-BB1859EC5C45}"/>
                </a:ext>
              </a:extLst>
            </p:cNvPr>
            <p:cNvSpPr/>
            <p:nvPr/>
          </p:nvSpPr>
          <p:spPr>
            <a:xfrm>
              <a:off x="5059237" y="2399153"/>
              <a:ext cx="5860857" cy="1172298"/>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0076A8">
                <a:alpha val="67000"/>
              </a:srgbClr>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cxnSp>
          <p:nvCxnSpPr>
            <p:cNvPr id="179" name="Straight Connector 178">
              <a:extLst>
                <a:ext uri="{FF2B5EF4-FFF2-40B4-BE49-F238E27FC236}">
                  <a16:creationId xmlns:a16="http://schemas.microsoft.com/office/drawing/2014/main" id="{EC5DF4F0-4DFC-47B9-8D58-1A278057FF77}"/>
                </a:ext>
              </a:extLst>
            </p:cNvPr>
            <p:cNvCxnSpPr>
              <a:cxnSpLocks/>
            </p:cNvCxnSpPr>
            <p:nvPr/>
          </p:nvCxnSpPr>
          <p:spPr>
            <a:xfrm>
              <a:off x="1380985" y="1791156"/>
              <a:ext cx="0" cy="178764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Rectangle 179">
              <a:extLst>
                <a:ext uri="{FF2B5EF4-FFF2-40B4-BE49-F238E27FC236}">
                  <a16:creationId xmlns:a16="http://schemas.microsoft.com/office/drawing/2014/main" id="{59270CE5-5ADD-4358-98B5-C9E019BA2930}"/>
                </a:ext>
              </a:extLst>
            </p:cNvPr>
            <p:cNvSpPr/>
            <p:nvPr/>
          </p:nvSpPr>
          <p:spPr>
            <a:xfrm>
              <a:off x="1395509" y="2739900"/>
              <a:ext cx="3677624" cy="581087"/>
            </a:xfrm>
            <a:prstGeom prst="rect">
              <a:avLst/>
            </a:prstGeom>
            <a:solidFill>
              <a:srgbClr val="53565A"/>
            </a:solidFill>
            <a:ln w="9525" algn="ctr">
              <a:noFill/>
              <a:miter lim="800000"/>
              <a:headEnd/>
              <a:tailEnd/>
            </a:ln>
            <a:effectLst/>
          </p:spPr>
          <p:txBody>
            <a:bodyPr rot="0" spcFirstLastPara="0" vert="horz" wrap="square" lIns="40500" tIns="20250" rIns="30375" bIns="2025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5000"/>
                </a:lnSpc>
                <a:spcBef>
                  <a:spcPts val="0"/>
                </a:spcBef>
                <a:spcAft>
                  <a:spcPts val="563"/>
                </a:spcAft>
                <a:buClrTx/>
                <a:buSzTx/>
                <a:buFontTx/>
                <a:buNone/>
                <a:tabLst/>
                <a:defRPr/>
              </a:pPr>
              <a:r>
                <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p:txBody>
        </p:sp>
        <p:sp>
          <p:nvSpPr>
            <p:cNvPr id="181" name="Text Box 2">
              <a:extLst>
                <a:ext uri="{FF2B5EF4-FFF2-40B4-BE49-F238E27FC236}">
                  <a16:creationId xmlns:a16="http://schemas.microsoft.com/office/drawing/2014/main" id="{10441A2B-5B40-403A-9A80-6D3A5A66895C}"/>
                </a:ext>
              </a:extLst>
            </p:cNvPr>
            <p:cNvSpPr txBox="1">
              <a:spLocks noChangeArrowheads="1"/>
            </p:cNvSpPr>
            <p:nvPr/>
          </p:nvSpPr>
          <p:spPr bwMode="auto">
            <a:xfrm>
              <a:off x="1794055" y="2798238"/>
              <a:ext cx="2947790" cy="16482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ị</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rủi</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ro</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doanh</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ghiệp</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ERM)</a:t>
              </a:r>
            </a:p>
          </p:txBody>
        </p:sp>
        <p:sp>
          <p:nvSpPr>
            <p:cNvPr id="182" name="Freeform 28">
              <a:extLst>
                <a:ext uri="{FF2B5EF4-FFF2-40B4-BE49-F238E27FC236}">
                  <a16:creationId xmlns:a16="http://schemas.microsoft.com/office/drawing/2014/main" id="{4C0F6B0A-BF98-4672-97D8-2F8B9566C496}"/>
                </a:ext>
              </a:extLst>
            </p:cNvPr>
            <p:cNvSpPr/>
            <p:nvPr/>
          </p:nvSpPr>
          <p:spPr>
            <a:xfrm>
              <a:off x="5163910" y="2972227"/>
              <a:ext cx="5533401" cy="583242"/>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007680"/>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3" name="Text Box 2">
              <a:extLst>
                <a:ext uri="{FF2B5EF4-FFF2-40B4-BE49-F238E27FC236}">
                  <a16:creationId xmlns:a16="http://schemas.microsoft.com/office/drawing/2014/main" id="{5A1421D3-FA0E-4D98-92AD-DFFDF390B742}"/>
                </a:ext>
              </a:extLst>
            </p:cNvPr>
            <p:cNvSpPr txBox="1">
              <a:spLocks noChangeArrowheads="1"/>
            </p:cNvSpPr>
            <p:nvPr/>
          </p:nvSpPr>
          <p:spPr bwMode="auto">
            <a:xfrm>
              <a:off x="6122669" y="2163422"/>
              <a:ext cx="2272864" cy="16482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ị</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CM)</a:t>
              </a:r>
              <a:endPar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4" name="Text Box 2">
              <a:extLst>
                <a:ext uri="{FF2B5EF4-FFF2-40B4-BE49-F238E27FC236}">
                  <a16:creationId xmlns:a16="http://schemas.microsoft.com/office/drawing/2014/main" id="{99FFD86A-C70C-489A-8223-ABCFF5AB7A1D}"/>
                </a:ext>
              </a:extLst>
            </p:cNvPr>
            <p:cNvSpPr txBox="1">
              <a:spLocks noChangeArrowheads="1"/>
            </p:cNvSpPr>
            <p:nvPr/>
          </p:nvSpPr>
          <p:spPr bwMode="auto">
            <a:xfrm>
              <a:off x="6530830" y="2712105"/>
              <a:ext cx="2840306" cy="16482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h</a:t>
              </a:r>
              <a:r>
                <a:rPr kumimoji="0" lang="vi-VN"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ư</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ơ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ình</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iên</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ục</a:t>
              </a:r>
              <a:endPar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cxnSp>
          <p:nvCxnSpPr>
            <p:cNvPr id="185" name="Straight Connector 184">
              <a:extLst>
                <a:ext uri="{FF2B5EF4-FFF2-40B4-BE49-F238E27FC236}">
                  <a16:creationId xmlns:a16="http://schemas.microsoft.com/office/drawing/2014/main" id="{9E26181D-FE3F-4B8F-AB67-4FE8E5207315}"/>
                </a:ext>
              </a:extLst>
            </p:cNvPr>
            <p:cNvCxnSpPr>
              <a:cxnSpLocks/>
            </p:cNvCxnSpPr>
            <p:nvPr/>
          </p:nvCxnSpPr>
          <p:spPr>
            <a:xfrm flipH="1">
              <a:off x="1380350" y="3582844"/>
              <a:ext cx="9812895" cy="1011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Text Box 2">
              <a:extLst>
                <a:ext uri="{FF2B5EF4-FFF2-40B4-BE49-F238E27FC236}">
                  <a16:creationId xmlns:a16="http://schemas.microsoft.com/office/drawing/2014/main" id="{F2632767-D2B7-401F-A3F5-982198679BFE}"/>
                </a:ext>
              </a:extLst>
            </p:cNvPr>
            <p:cNvSpPr txBox="1">
              <a:spLocks noChangeArrowheads="1"/>
            </p:cNvSpPr>
            <p:nvPr/>
          </p:nvSpPr>
          <p:spPr bwMode="auto">
            <a:xfrm>
              <a:off x="9054256" y="2531160"/>
              <a:ext cx="2186381" cy="152243"/>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AU"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AU"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kinh</a:t>
              </a:r>
              <a:r>
                <a:rPr kumimoji="0" lang="en-AU"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doanh</a:t>
              </a:r>
              <a:r>
                <a:rPr kumimoji="0" lang="en-AU"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bình</a:t>
              </a:r>
              <a:r>
                <a:rPr kumimoji="0" lang="en-AU"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h</a:t>
              </a:r>
              <a:r>
                <a:rPr kumimoji="0" lang="vi-VN"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ư</a:t>
              </a:r>
              <a:r>
                <a:rPr kumimoji="0" lang="en-US" sz="1200" b="1" i="1"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ờng</a:t>
              </a:r>
              <a:endParaRPr kumimoji="0" lang="en-AU" sz="1200" b="1" i="1"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7" name="Text Box 2">
              <a:extLst>
                <a:ext uri="{FF2B5EF4-FFF2-40B4-BE49-F238E27FC236}">
                  <a16:creationId xmlns:a16="http://schemas.microsoft.com/office/drawing/2014/main" id="{7AF29F01-30C8-429C-AA92-289798C2AF90}"/>
                </a:ext>
              </a:extLst>
            </p:cNvPr>
            <p:cNvSpPr txBox="1">
              <a:spLocks noChangeArrowheads="1"/>
            </p:cNvSpPr>
            <p:nvPr/>
          </p:nvSpPr>
          <p:spPr bwMode="auto">
            <a:xfrm>
              <a:off x="5734302" y="3601532"/>
              <a:ext cx="1104991" cy="16482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Th</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ời</a:t>
              </a: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gian</a:t>
              </a:r>
              <a:endPar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8" name="Text Box 2">
              <a:extLst>
                <a:ext uri="{FF2B5EF4-FFF2-40B4-BE49-F238E27FC236}">
                  <a16:creationId xmlns:a16="http://schemas.microsoft.com/office/drawing/2014/main" id="{7C847CE8-4CE6-4266-B9B5-448F875EB741}"/>
                </a:ext>
              </a:extLst>
            </p:cNvPr>
            <p:cNvSpPr txBox="1">
              <a:spLocks noChangeArrowheads="1"/>
            </p:cNvSpPr>
            <p:nvPr/>
          </p:nvSpPr>
          <p:spPr bwMode="auto">
            <a:xfrm rot="16200000">
              <a:off x="395846" y="2470895"/>
              <a:ext cx="1549525" cy="190046"/>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ác</a:t>
              </a:r>
              <a:r>
                <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yêu</a:t>
              </a:r>
              <a:r>
                <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ầu</a:t>
              </a:r>
              <a:endPar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89" name="Rectangle 188">
              <a:extLst>
                <a:ext uri="{FF2B5EF4-FFF2-40B4-BE49-F238E27FC236}">
                  <a16:creationId xmlns:a16="http://schemas.microsoft.com/office/drawing/2014/main" id="{3134B5B3-034C-4DEC-B6A6-CC36FFEDC248}"/>
                </a:ext>
              </a:extLst>
            </p:cNvPr>
            <p:cNvSpPr/>
            <p:nvPr/>
          </p:nvSpPr>
          <p:spPr bwMode="gray">
            <a:xfrm>
              <a:off x="1395505" y="3238362"/>
              <a:ext cx="3681928" cy="221076"/>
            </a:xfrm>
            <a:prstGeom prst="rect">
              <a:avLst/>
            </a:prstGeom>
            <a:solidFill>
              <a:srgbClr val="0076A8"/>
            </a:solidFill>
            <a:ln w="9525" algn="ctr">
              <a:solidFill>
                <a:srgbClr val="0076A8"/>
              </a:solid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ế</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ch</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t</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ộ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iên</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ục</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BCP)</a:t>
              </a:r>
            </a:p>
          </p:txBody>
        </p:sp>
        <p:sp>
          <p:nvSpPr>
            <p:cNvPr id="190" name="Rectangle 189">
              <a:extLst>
                <a:ext uri="{FF2B5EF4-FFF2-40B4-BE49-F238E27FC236}">
                  <a16:creationId xmlns:a16="http://schemas.microsoft.com/office/drawing/2014/main" id="{F6B0D136-81CF-4105-A891-94845E7E4051}"/>
                </a:ext>
              </a:extLst>
            </p:cNvPr>
            <p:cNvSpPr/>
            <p:nvPr/>
          </p:nvSpPr>
          <p:spPr bwMode="gray">
            <a:xfrm>
              <a:off x="1395506" y="3015199"/>
              <a:ext cx="3964259" cy="244943"/>
            </a:xfrm>
            <a:prstGeom prst="rect">
              <a:avLst/>
            </a:prstGeom>
            <a:solidFill>
              <a:srgbClr val="6FC2B4"/>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ị</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CM) </a:t>
              </a:r>
            </a:p>
          </p:txBody>
        </p:sp>
        <p:sp>
          <p:nvSpPr>
            <p:cNvPr id="191" name="Text Box 2">
              <a:extLst>
                <a:ext uri="{FF2B5EF4-FFF2-40B4-BE49-F238E27FC236}">
                  <a16:creationId xmlns:a16="http://schemas.microsoft.com/office/drawing/2014/main" id="{D5A7739F-E68B-4704-83AA-B9D11343FA1B}"/>
                </a:ext>
              </a:extLst>
            </p:cNvPr>
            <p:cNvSpPr txBox="1">
              <a:spLocks noChangeArrowheads="1"/>
            </p:cNvSpPr>
            <p:nvPr/>
          </p:nvSpPr>
          <p:spPr bwMode="auto">
            <a:xfrm>
              <a:off x="6598099" y="3280485"/>
              <a:ext cx="2840306" cy="164825"/>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ôi</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hục</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au</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ự</a:t>
              </a:r>
              <a:r>
                <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AU"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ố</a:t>
              </a:r>
              <a:endParaRPr kumimoji="0" lang="en-AU"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2" name="Rectangle 191">
              <a:extLst>
                <a:ext uri="{FF2B5EF4-FFF2-40B4-BE49-F238E27FC236}">
                  <a16:creationId xmlns:a16="http://schemas.microsoft.com/office/drawing/2014/main" id="{D2C4DAFA-7C1E-4976-88F8-43EAE4F9E27F}"/>
                </a:ext>
              </a:extLst>
            </p:cNvPr>
            <p:cNvSpPr/>
            <p:nvPr/>
          </p:nvSpPr>
          <p:spPr bwMode="gray">
            <a:xfrm>
              <a:off x="1395505" y="3455638"/>
              <a:ext cx="3681928" cy="124604"/>
            </a:xfrm>
            <a:prstGeom prst="rect">
              <a:avLst/>
            </a:prstGeom>
            <a:solidFill>
              <a:srgbClr val="007680"/>
            </a:solidFill>
            <a:ln w="9525" algn="ctr">
              <a:solidFill>
                <a:srgbClr val="0076A8"/>
              </a:solid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ế</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ch</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ôi</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hục</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ự</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ố</a:t>
              </a:r>
              <a:r>
                <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Disaster Recovery planning)</a:t>
              </a:r>
            </a:p>
          </p:txBody>
        </p:sp>
        <p:sp>
          <p:nvSpPr>
            <p:cNvPr id="193" name="Freeform 29">
              <a:extLst>
                <a:ext uri="{FF2B5EF4-FFF2-40B4-BE49-F238E27FC236}">
                  <a16:creationId xmlns:a16="http://schemas.microsoft.com/office/drawing/2014/main" id="{2E2C22D8-951B-4062-BD7D-B54177E52EB7}"/>
                </a:ext>
              </a:extLst>
            </p:cNvPr>
            <p:cNvSpPr/>
            <p:nvPr/>
          </p:nvSpPr>
          <p:spPr>
            <a:xfrm>
              <a:off x="5072572" y="1775105"/>
              <a:ext cx="915945" cy="1835533"/>
            </a:xfrm>
            <a:custGeom>
              <a:avLst/>
              <a:gdLst>
                <a:gd name="connsiteX0" fmla="*/ 0 w 781050"/>
                <a:gd name="connsiteY0" fmla="*/ 1371619 h 1371619"/>
                <a:gd name="connsiteX1" fmla="*/ 381000 w 781050"/>
                <a:gd name="connsiteY1" fmla="*/ 19 h 1371619"/>
                <a:gd name="connsiteX2" fmla="*/ 781050 w 781050"/>
                <a:gd name="connsiteY2" fmla="*/ 1346219 h 1371619"/>
              </a:gdLst>
              <a:ahLst/>
              <a:cxnLst>
                <a:cxn ang="0">
                  <a:pos x="connsiteX0" y="connsiteY0"/>
                </a:cxn>
                <a:cxn ang="0">
                  <a:pos x="connsiteX1" y="connsiteY1"/>
                </a:cxn>
                <a:cxn ang="0">
                  <a:pos x="connsiteX2" y="connsiteY2"/>
                </a:cxn>
              </a:cxnLst>
              <a:rect l="l" t="t" r="r" b="b"/>
              <a:pathLst>
                <a:path w="781050" h="1371619">
                  <a:moveTo>
                    <a:pt x="0" y="1371619"/>
                  </a:moveTo>
                  <a:cubicBezTo>
                    <a:pt x="125412" y="687935"/>
                    <a:pt x="250825" y="4252"/>
                    <a:pt x="381000" y="19"/>
                  </a:cubicBezTo>
                  <a:cubicBezTo>
                    <a:pt x="511175" y="-4214"/>
                    <a:pt x="646112" y="671002"/>
                    <a:pt x="781050" y="1346219"/>
                  </a:cubicBezTo>
                </a:path>
              </a:pathLst>
            </a:custGeom>
            <a:solidFill>
              <a:srgbClr val="012169">
                <a:alpha val="67000"/>
              </a:srgbClr>
            </a:solidFill>
            <a:ln w="9525" algn="ctr">
              <a:noFill/>
              <a:miter lim="800000"/>
              <a:headEnd/>
              <a:tailEnd/>
            </a:ln>
            <a:effectLst/>
          </p:spPr>
          <p:txBody>
            <a:bodyPr rot="0" spcFirstLastPara="0" vert="horz" wrap="square" lIns="51435" tIns="25718" rIns="51435" bIns="2571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4" name="Text Box 2">
              <a:extLst>
                <a:ext uri="{FF2B5EF4-FFF2-40B4-BE49-F238E27FC236}">
                  <a16:creationId xmlns:a16="http://schemas.microsoft.com/office/drawing/2014/main" id="{583C0E7D-8A65-4694-8698-54F737AB2056}"/>
                </a:ext>
              </a:extLst>
            </p:cNvPr>
            <p:cNvSpPr txBox="1">
              <a:spLocks noChangeArrowheads="1"/>
            </p:cNvSpPr>
            <p:nvPr/>
          </p:nvSpPr>
          <p:spPr bwMode="auto">
            <a:xfrm>
              <a:off x="4421168" y="1787961"/>
              <a:ext cx="949006" cy="339904"/>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Phản</a:t>
              </a:r>
              <a:r>
                <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ứng</a:t>
              </a: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lại</a:t>
              </a: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với</a:t>
              </a: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sự</a:t>
              </a: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rPr>
                <a:t>cố</a:t>
              </a:r>
              <a:endParaRPr kumimoji="0" lang="en-AU" sz="1200" b="1"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5" name="Explosion 1 37">
              <a:extLst>
                <a:ext uri="{FF2B5EF4-FFF2-40B4-BE49-F238E27FC236}">
                  <a16:creationId xmlns:a16="http://schemas.microsoft.com/office/drawing/2014/main" id="{875A29CF-5850-40BB-A974-FA5D7FBBDD76}"/>
                </a:ext>
              </a:extLst>
            </p:cNvPr>
            <p:cNvSpPr/>
            <p:nvPr/>
          </p:nvSpPr>
          <p:spPr>
            <a:xfrm>
              <a:off x="4803364" y="3022081"/>
              <a:ext cx="877729" cy="843530"/>
            </a:xfrm>
            <a:prstGeom prst="irregularSeal1">
              <a:avLst/>
            </a:prstGeom>
            <a:solidFill>
              <a:srgbClr val="00A3E0"/>
            </a:solidFill>
            <a:ln w="9525" algn="ctr">
              <a:noFill/>
              <a:miter lim="800000"/>
              <a:headEnd/>
              <a:tailEnd/>
            </a:ln>
            <a:effectLst/>
          </p:spPr>
          <p:txBody>
            <a:bodyPr rot="0" spcFirstLastPara="0" vert="horz" wrap="square" lIns="40500" tIns="20250" rIns="30375" bIns="2025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750" b="0" i="0" u="none" strike="noStrike" kern="120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196" name="Text Box 2">
              <a:extLst>
                <a:ext uri="{FF2B5EF4-FFF2-40B4-BE49-F238E27FC236}">
                  <a16:creationId xmlns:a16="http://schemas.microsoft.com/office/drawing/2014/main" id="{984B0B27-B289-466C-8597-E0DCF91885AA}"/>
                </a:ext>
              </a:extLst>
            </p:cNvPr>
            <p:cNvSpPr txBox="1">
              <a:spLocks noChangeArrowheads="1"/>
            </p:cNvSpPr>
            <p:nvPr/>
          </p:nvSpPr>
          <p:spPr bwMode="auto">
            <a:xfrm>
              <a:off x="4848427" y="3328137"/>
              <a:ext cx="750879" cy="151080"/>
            </a:xfrm>
            <a:prstGeom prst="rect">
              <a:avLst/>
            </a:prstGeom>
            <a:noFill/>
            <a:ln w="9525">
              <a:noFill/>
              <a:miter lim="800000"/>
              <a:headEnd/>
              <a:tailEnd/>
            </a:ln>
          </p:spPr>
          <p:txBody>
            <a:bodyPr rot="0" vert="horz" wrap="square" lIns="0" tIns="0" rIns="0" bIns="0" anchor="ctr" anchorCtr="0">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AU" sz="11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a:t>
              </a:r>
              <a:r>
                <a:rPr kumimoji="0" lang="en-US" sz="11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ự </a:t>
              </a:r>
              <a:r>
                <a:rPr kumimoji="0" lang="en-US" sz="1100" b="1"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iện</a:t>
              </a:r>
              <a:endParaRPr kumimoji="0" lang="en-AU" sz="1100" b="1"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grpSp>
      <p:sp>
        <p:nvSpPr>
          <p:cNvPr id="40" name="Slide Number Placeholder 4">
            <a:extLst>
              <a:ext uri="{FF2B5EF4-FFF2-40B4-BE49-F238E27FC236}">
                <a16:creationId xmlns:a16="http://schemas.microsoft.com/office/drawing/2014/main" id="{68E065E4-6559-417E-92AF-E8BA3C883D13}"/>
              </a:ext>
            </a:extLst>
          </p:cNvPr>
          <p:cNvSpPr txBox="1">
            <a:spLocks/>
          </p:cNvSpPr>
          <p:nvPr/>
        </p:nvSpPr>
        <p:spPr>
          <a:xfrm>
            <a:off x="9178308" y="6493758"/>
            <a:ext cx="27432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E0061DA-2F6B-4ADA-B8FE-B75E3EF3D641}" type="slidenum">
              <a:rPr kumimoji="0" lang="en-US" sz="1000" b="0" i="0" u="none" strike="noStrike" kern="1200" cap="none" spc="0" normalizeH="0" baseline="0" noProof="0" smtClean="0">
                <a:ln>
                  <a:noFill/>
                </a:ln>
                <a:solidFill>
                  <a:prstClr val="white">
                    <a:lumMod val="65000"/>
                  </a:prstClr>
                </a:solidFill>
                <a:effectLst/>
                <a:uLnTx/>
                <a:uFillTx/>
                <a:latin typeface="Calibri Light" panose="020F0302020204030204" pitchFamily="34" charset="0"/>
                <a:cs typeface="Calibri Light" panose="020F030202020403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prstClr val="white">
                  <a:lumMod val="65000"/>
                </a:prstClr>
              </a:solidFill>
              <a:effectLst/>
              <a:uLnTx/>
              <a:uFillTx/>
              <a:latin typeface="Calibri Light" panose="020F0302020204030204" pitchFamily="34" charset="0"/>
              <a:cs typeface="Calibri Light" panose="020F0302020204030204" pitchFamily="34" charset="0"/>
            </a:endParaRPr>
          </a:p>
        </p:txBody>
      </p:sp>
      <p:grpSp>
        <p:nvGrpSpPr>
          <p:cNvPr id="41" name="Group 40">
            <a:extLst>
              <a:ext uri="{FF2B5EF4-FFF2-40B4-BE49-F238E27FC236}">
                <a16:creationId xmlns:a16="http://schemas.microsoft.com/office/drawing/2014/main" id="{13F5B2F3-96C3-48AD-9C91-969B5D65226B}"/>
              </a:ext>
            </a:extLst>
          </p:cNvPr>
          <p:cNvGrpSpPr>
            <a:grpSpLocks noChangeAspect="1"/>
          </p:cNvGrpSpPr>
          <p:nvPr/>
        </p:nvGrpSpPr>
        <p:grpSpPr>
          <a:xfrm>
            <a:off x="460541" y="191737"/>
            <a:ext cx="1819109" cy="345828"/>
            <a:chOff x="398463" y="404813"/>
            <a:chExt cx="1627187" cy="307976"/>
          </a:xfrm>
          <a:solidFill>
            <a:schemeClr val="tx1"/>
          </a:solidFill>
        </p:grpSpPr>
        <p:sp>
          <p:nvSpPr>
            <p:cNvPr id="42" name="Oval 41">
              <a:extLst>
                <a:ext uri="{FF2B5EF4-FFF2-40B4-BE49-F238E27FC236}">
                  <a16:creationId xmlns:a16="http://schemas.microsoft.com/office/drawing/2014/main" id="{3296C81F-F69B-4371-9CA6-2A0B42B3518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3" name="Freeform 6">
              <a:extLst>
                <a:ext uri="{FF2B5EF4-FFF2-40B4-BE49-F238E27FC236}">
                  <a16:creationId xmlns:a16="http://schemas.microsoft.com/office/drawing/2014/main" id="{FA476C1E-FBD3-4733-8C29-C914077B4D8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4" name="Rectangle 43">
              <a:extLst>
                <a:ext uri="{FF2B5EF4-FFF2-40B4-BE49-F238E27FC236}">
                  <a16:creationId xmlns:a16="http://schemas.microsoft.com/office/drawing/2014/main" id="{C582AB81-C5F2-422B-BF4A-760BB8DD241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5" name="Freeform 8">
              <a:extLst>
                <a:ext uri="{FF2B5EF4-FFF2-40B4-BE49-F238E27FC236}">
                  <a16:creationId xmlns:a16="http://schemas.microsoft.com/office/drawing/2014/main" id="{668DCDF3-54A2-489E-99BF-0BF6DBDBEDE5}"/>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6" name="Rectangle 45">
              <a:extLst>
                <a:ext uri="{FF2B5EF4-FFF2-40B4-BE49-F238E27FC236}">
                  <a16:creationId xmlns:a16="http://schemas.microsoft.com/office/drawing/2014/main" id="{41126F6D-48ED-4722-B3BC-E8040ACA24E6}"/>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7" name="Rectangle 46">
              <a:extLst>
                <a:ext uri="{FF2B5EF4-FFF2-40B4-BE49-F238E27FC236}">
                  <a16:creationId xmlns:a16="http://schemas.microsoft.com/office/drawing/2014/main" id="{0CF85EAD-20DD-4433-86B3-1AF2D94DC94A}"/>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8" name="Freeform 11">
              <a:extLst>
                <a:ext uri="{FF2B5EF4-FFF2-40B4-BE49-F238E27FC236}">
                  <a16:creationId xmlns:a16="http://schemas.microsoft.com/office/drawing/2014/main" id="{AA91B050-4DD7-4C0C-8F5F-42ACAB70DB6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49" name="Freeform 12">
              <a:extLst>
                <a:ext uri="{FF2B5EF4-FFF2-40B4-BE49-F238E27FC236}">
                  <a16:creationId xmlns:a16="http://schemas.microsoft.com/office/drawing/2014/main" id="{809A6201-D6EC-4BFB-9202-4A419007938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0" name="Freeform 13">
              <a:extLst>
                <a:ext uri="{FF2B5EF4-FFF2-40B4-BE49-F238E27FC236}">
                  <a16:creationId xmlns:a16="http://schemas.microsoft.com/office/drawing/2014/main" id="{7314B752-DF06-44EA-9BA4-77EFF99B060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1" name="Freeform 14">
              <a:extLst>
                <a:ext uri="{FF2B5EF4-FFF2-40B4-BE49-F238E27FC236}">
                  <a16:creationId xmlns:a16="http://schemas.microsoft.com/office/drawing/2014/main" id="{93F8D167-396A-4A9F-ADF1-8565D65E0529}"/>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pic>
        <p:nvPicPr>
          <p:cNvPr id="52" name="Picture 51" descr="A picture containing text, vector graphics, fan, device&#10;&#10;Description automatically generated">
            <a:extLst>
              <a:ext uri="{FF2B5EF4-FFF2-40B4-BE49-F238E27FC236}">
                <a16:creationId xmlns:a16="http://schemas.microsoft.com/office/drawing/2014/main" id="{65214B92-EB0E-42AF-BC28-17935F54A1EB}"/>
              </a:ext>
            </a:extLst>
          </p:cNvPr>
          <p:cNvPicPr>
            <a:picLocks noChangeAspect="1"/>
          </p:cNvPicPr>
          <p:nvPr/>
        </p:nvPicPr>
        <p:blipFill>
          <a:blip r:embed="rId3"/>
          <a:stretch>
            <a:fillRect/>
          </a:stretch>
        </p:blipFill>
        <p:spPr>
          <a:xfrm>
            <a:off x="10421786" y="208439"/>
            <a:ext cx="1547608" cy="895983"/>
          </a:xfrm>
          <a:prstGeom prst="rect">
            <a:avLst/>
          </a:prstGeom>
        </p:spPr>
      </p:pic>
    </p:spTree>
    <p:extLst>
      <p:ext uri="{BB962C8B-B14F-4D97-AF65-F5344CB8AC3E}">
        <p14:creationId xmlns:p14="http://schemas.microsoft.com/office/powerpoint/2010/main" val="21935741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230210"/>
            <a:ext cx="1547608" cy="895983"/>
          </a:xfrm>
          <a:prstGeom prst="rect">
            <a:avLst/>
          </a:prstGeom>
        </p:spPr>
      </p:pic>
      <p:sp>
        <p:nvSpPr>
          <p:cNvPr id="13" name="Rectangle 12">
            <a:extLst>
              <a:ext uri="{FF2B5EF4-FFF2-40B4-BE49-F238E27FC236}">
                <a16:creationId xmlns:a16="http://schemas.microsoft.com/office/drawing/2014/main" id="{DDA49807-B2ED-4F6E-9F27-A0311D8217CF}"/>
              </a:ext>
            </a:extLst>
          </p:cNvPr>
          <p:cNvSpPr/>
          <p:nvPr/>
        </p:nvSpPr>
        <p:spPr>
          <a:xfrm>
            <a:off x="368936" y="6456323"/>
            <a:ext cx="1791196" cy="276999"/>
          </a:xfrm>
          <a:prstGeom prst="rect">
            <a:avLst/>
          </a:prstGeom>
        </p:spPr>
        <p:txBody>
          <a:bodyPr wrap="non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sp>
        <p:nvSpPr>
          <p:cNvPr id="26" name="Google Shape;2937;p311">
            <a:extLst>
              <a:ext uri="{FF2B5EF4-FFF2-40B4-BE49-F238E27FC236}">
                <a16:creationId xmlns:a16="http://schemas.microsoft.com/office/drawing/2014/main" id="{9A456151-FB3A-4A32-B9B0-3D8907FD04F1}"/>
              </a:ext>
            </a:extLst>
          </p:cNvPr>
          <p:cNvSpPr txBox="1">
            <a:spLocks/>
          </p:cNvSpPr>
          <p:nvPr/>
        </p:nvSpPr>
        <p:spPr bwMode="gray">
          <a:xfrm>
            <a:off x="261841" y="598724"/>
            <a:ext cx="11252200" cy="525565"/>
          </a:xfrm>
          <a:prstGeom prst="rect">
            <a:avLst/>
          </a:prstGeom>
          <a:noFill/>
          <a:ln>
            <a:noFill/>
          </a:ln>
        </p:spPr>
        <p:txBody>
          <a:bodyPr spcFirstLastPara="1" vert="horz" wrap="square"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ctr" defTabSz="1219170" rtl="0" eaLnBrk="1" fontAlgn="base" latinLnBrk="0" hangingPunct="1">
              <a:lnSpc>
                <a:spcPct val="110000"/>
              </a:lnSpc>
              <a:spcBef>
                <a:spcPct val="0"/>
              </a:spcBef>
              <a:spcAft>
                <a:spcPct val="0"/>
              </a:spcAft>
              <a:buClrTx/>
              <a:buSzTx/>
              <a:buFontTx/>
              <a:buNone/>
              <a:tabLst/>
              <a:defRPr/>
            </a:pPr>
            <a:r>
              <a:rPr kumimoji="0" lang="en-US" sz="3200" b="1" i="0" u="none" strike="noStrike" kern="1200" cap="none" spc="0" normalizeH="0" baseline="0" noProof="0">
                <a:ln>
                  <a:noFill/>
                </a:ln>
                <a:solidFill>
                  <a:srgbClr val="86BC25"/>
                </a:solidFill>
                <a:effectLst/>
                <a:uLnTx/>
                <a:uFillTx/>
                <a:ea typeface="Verdana" panose="020B0604030504040204" pitchFamily="34" charset="0"/>
                <a:cs typeface="Calibri" panose="020F0502020204030204" pitchFamily="34" charset="0"/>
              </a:rPr>
              <a:t>Khung quản lý khủng hoảng</a:t>
            </a:r>
            <a:endParaRPr kumimoji="0" lang="en-US" sz="3200" b="1" i="0" u="none" strike="noStrike" kern="1200" cap="none" spc="0" normalizeH="0" baseline="0" noProof="0" dirty="0">
              <a:ln>
                <a:noFill/>
              </a:ln>
              <a:solidFill>
                <a:srgbClr val="86BC25"/>
              </a:solidFill>
              <a:effectLst/>
              <a:uLnTx/>
              <a:uFillTx/>
              <a:ea typeface="Verdana" panose="020B060403050404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id="{9360005B-F201-443F-AD9C-862637B356D6}"/>
              </a:ext>
            </a:extLst>
          </p:cNvPr>
          <p:cNvSpPr/>
          <p:nvPr/>
        </p:nvSpPr>
        <p:spPr>
          <a:xfrm>
            <a:off x="1028172" y="1983671"/>
            <a:ext cx="3056546" cy="1154162"/>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ó</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bức</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ra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oà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ả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ề</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ác</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hà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ộ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ứ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phó</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Theo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dõi</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ác</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sự</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kiệ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hà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ộ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ứ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phó</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ó</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iều</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hĩ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kịp</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hời</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khi</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ó</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err="1">
                <a:ln>
                  <a:noFill/>
                </a:ln>
                <a:solidFill>
                  <a:prstClr val="black"/>
                </a:solidFill>
                <a:effectLst/>
                <a:uLnTx/>
                <a:uFillTx/>
                <a:latin typeface="+mj-lt"/>
                <a:ea typeface="Verdana" panose="020B0604030504040204" pitchFamily="34" charset="0"/>
                <a:cs typeface="+mn-cs"/>
              </a:rPr>
              <a:t>thay</a:t>
            </a:r>
            <a:r>
              <a:rPr kumimoji="0" lang="en-US" sz="1400" b="0" i="0" u="none" strike="noStrike" kern="1200" cap="none" spc="0" normalizeH="0" baseline="0" noProof="0">
                <a:ln>
                  <a:noFill/>
                </a:ln>
                <a:solidFill>
                  <a:prstClr val="black"/>
                </a:solidFill>
                <a:effectLst/>
                <a:uLnTx/>
                <a:uFillTx/>
                <a:latin typeface="+mj-lt"/>
                <a:ea typeface="Verdana" panose="020B0604030504040204" pitchFamily="34" charset="0"/>
                <a:cs typeface="+mn-cs"/>
              </a:rPr>
              <a:t> đổi</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p:txBody>
      </p:sp>
      <p:sp>
        <p:nvSpPr>
          <p:cNvPr id="28" name="Rectangle 27">
            <a:extLst>
              <a:ext uri="{FF2B5EF4-FFF2-40B4-BE49-F238E27FC236}">
                <a16:creationId xmlns:a16="http://schemas.microsoft.com/office/drawing/2014/main" id="{982C8676-4338-4419-9D43-DC17CED1A577}"/>
              </a:ext>
            </a:extLst>
          </p:cNvPr>
          <p:cNvSpPr/>
          <p:nvPr/>
        </p:nvSpPr>
        <p:spPr>
          <a:xfrm>
            <a:off x="7632667" y="1593336"/>
            <a:ext cx="3995136" cy="800219"/>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j-lt"/>
                <a:ea typeface="Verdana" panose="020B0604030504040204" pitchFamily="34" charset="0"/>
                <a:cs typeface="+mn-cs"/>
              </a:rPr>
              <a:t>Đội ngũ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ó</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kĩ</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nă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ki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nghiệm</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Quy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rì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hướ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dẫ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ơ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giả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rõ</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ràng</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Phâ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quyề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phâ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nhiệm</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chí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xác</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err="1">
                <a:ln>
                  <a:noFill/>
                </a:ln>
                <a:solidFill>
                  <a:prstClr val="black"/>
                </a:solidFill>
                <a:effectLst/>
                <a:uLnTx/>
                <a:uFillTx/>
                <a:latin typeface="+mj-lt"/>
                <a:ea typeface="Verdana" panose="020B0604030504040204" pitchFamily="34" charset="0"/>
                <a:cs typeface="+mn-cs"/>
              </a:rPr>
              <a:t>mạch</a:t>
            </a:r>
            <a:r>
              <a:rPr kumimoji="0" lang="en-US" sz="1400" b="0" i="0" u="none" strike="noStrike" kern="1200" cap="none" spc="0" normalizeH="0" baseline="0" noProof="0">
                <a:ln>
                  <a:noFill/>
                </a:ln>
                <a:solidFill>
                  <a:prstClr val="black"/>
                </a:solidFill>
                <a:effectLst/>
                <a:uLnTx/>
                <a:uFillTx/>
                <a:latin typeface="+mj-lt"/>
                <a:ea typeface="Verdana" panose="020B0604030504040204" pitchFamily="34" charset="0"/>
                <a:cs typeface="+mn-cs"/>
              </a:rPr>
              <a:t> lạc</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p:txBody>
      </p:sp>
      <p:sp>
        <p:nvSpPr>
          <p:cNvPr id="29" name="Rectangle 28">
            <a:extLst>
              <a:ext uri="{FF2B5EF4-FFF2-40B4-BE49-F238E27FC236}">
                <a16:creationId xmlns:a16="http://schemas.microsoft.com/office/drawing/2014/main" id="{CF76E144-554F-4D72-A25B-F85B266D5C5C}"/>
              </a:ext>
            </a:extLst>
          </p:cNvPr>
          <p:cNvSpPr/>
          <p:nvPr/>
        </p:nvSpPr>
        <p:spPr>
          <a:xfrm>
            <a:off x="8202835" y="4518275"/>
            <a:ext cx="3479486" cy="938719"/>
          </a:xfrm>
          <a:prstGeom prst="rect">
            <a:avLst/>
          </a:prstGeom>
        </p:spPr>
        <p:txBody>
          <a:bodyPr wrap="square" lIns="0" tIns="0" rIns="0" bIns="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Quy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rì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phâ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íc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ì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huố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nhậ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diệ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ấ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ề</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ra</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quyết</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ị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hành</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động</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ruyề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hô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toà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diện</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rõ</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ràng</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dirty="0" err="1">
                <a:ln>
                  <a:noFill/>
                </a:ln>
                <a:solidFill>
                  <a:prstClr val="black"/>
                </a:solidFill>
                <a:effectLst/>
                <a:uLnTx/>
                <a:uFillTx/>
                <a:latin typeface="+mj-lt"/>
                <a:ea typeface="Verdana" panose="020B0604030504040204" pitchFamily="34" charset="0"/>
                <a:cs typeface="+mn-cs"/>
              </a:rPr>
              <a:t>và</a:t>
            </a:r>
            <a:r>
              <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rPr>
              <a:t> </a:t>
            </a:r>
            <a:r>
              <a:rPr kumimoji="0" lang="en-US" sz="1400" b="0" i="0" u="none" strike="noStrike" kern="1200" cap="none" spc="0" normalizeH="0" baseline="0" noProof="0">
                <a:ln>
                  <a:noFill/>
                </a:ln>
                <a:solidFill>
                  <a:prstClr val="black"/>
                </a:solidFill>
                <a:effectLst/>
                <a:uLnTx/>
                <a:uFillTx/>
                <a:latin typeface="+mj-lt"/>
                <a:ea typeface="Verdana" panose="020B0604030504040204" pitchFamily="34" charset="0"/>
                <a:cs typeface="+mn-cs"/>
              </a:rPr>
              <a:t>minh bạch</a:t>
            </a:r>
            <a:endParaRPr kumimoji="0" lang="en-US" sz="1400" b="0" i="0" u="none" strike="noStrike" kern="1200" cap="none" spc="0" normalizeH="0" baseline="0" noProof="0" dirty="0">
              <a:ln>
                <a:noFill/>
              </a:ln>
              <a:solidFill>
                <a:prstClr val="black"/>
              </a:solidFill>
              <a:effectLst/>
              <a:uLnTx/>
              <a:uFillTx/>
              <a:latin typeface="+mj-lt"/>
              <a:ea typeface="Verdana" panose="020B0604030504040204" pitchFamily="34" charset="0"/>
              <a:cs typeface="+mn-cs"/>
            </a:endParaRPr>
          </a:p>
        </p:txBody>
      </p:sp>
      <p:grpSp>
        <p:nvGrpSpPr>
          <p:cNvPr id="30" name="Group 29">
            <a:extLst>
              <a:ext uri="{FF2B5EF4-FFF2-40B4-BE49-F238E27FC236}">
                <a16:creationId xmlns:a16="http://schemas.microsoft.com/office/drawing/2014/main" id="{167BA134-E408-46C0-956F-686E470B17AB}"/>
              </a:ext>
            </a:extLst>
          </p:cNvPr>
          <p:cNvGrpSpPr/>
          <p:nvPr/>
        </p:nvGrpSpPr>
        <p:grpSpPr>
          <a:xfrm>
            <a:off x="3573003" y="1633367"/>
            <a:ext cx="4520651" cy="4561737"/>
            <a:chOff x="-5481873" y="-1227828"/>
            <a:chExt cx="4520651" cy="4561737"/>
          </a:xfrm>
        </p:grpSpPr>
        <p:grpSp>
          <p:nvGrpSpPr>
            <p:cNvPr id="31" name="Group 30">
              <a:extLst>
                <a:ext uri="{FF2B5EF4-FFF2-40B4-BE49-F238E27FC236}">
                  <a16:creationId xmlns:a16="http://schemas.microsoft.com/office/drawing/2014/main" id="{00068F44-F623-4DEA-BFAA-E4D4D93308A0}"/>
                </a:ext>
              </a:extLst>
            </p:cNvPr>
            <p:cNvGrpSpPr/>
            <p:nvPr/>
          </p:nvGrpSpPr>
          <p:grpSpPr>
            <a:xfrm>
              <a:off x="-5481873" y="-1227828"/>
              <a:ext cx="4520651" cy="4561737"/>
              <a:chOff x="-5481873" y="-1227828"/>
              <a:chExt cx="4520651" cy="4561737"/>
            </a:xfrm>
          </p:grpSpPr>
          <p:grpSp>
            <p:nvGrpSpPr>
              <p:cNvPr id="33" name="Group 32">
                <a:extLst>
                  <a:ext uri="{FF2B5EF4-FFF2-40B4-BE49-F238E27FC236}">
                    <a16:creationId xmlns:a16="http://schemas.microsoft.com/office/drawing/2014/main" id="{957F7CAC-7CC7-495B-B81F-B916BAC02A3C}"/>
                  </a:ext>
                </a:extLst>
              </p:cNvPr>
              <p:cNvGrpSpPr/>
              <p:nvPr/>
            </p:nvGrpSpPr>
            <p:grpSpPr>
              <a:xfrm>
                <a:off x="-5481873" y="-1227828"/>
                <a:ext cx="4520651" cy="4561737"/>
                <a:chOff x="-5481873" y="-1227828"/>
                <a:chExt cx="4520651" cy="4561737"/>
              </a:xfrm>
            </p:grpSpPr>
            <p:sp>
              <p:nvSpPr>
                <p:cNvPr id="35" name="TextBox 34">
                  <a:extLst>
                    <a:ext uri="{FF2B5EF4-FFF2-40B4-BE49-F238E27FC236}">
                      <a16:creationId xmlns:a16="http://schemas.microsoft.com/office/drawing/2014/main" id="{269C3DA4-3C49-4B70-9381-3A4587F0B6A9}"/>
                    </a:ext>
                  </a:extLst>
                </p:cNvPr>
                <p:cNvSpPr txBox="1">
                  <a:spLocks noChangeAspect="1"/>
                </p:cNvSpPr>
                <p:nvPr/>
              </p:nvSpPr>
              <p:spPr>
                <a:xfrm rot="2539029">
                  <a:off x="-5154056" y="-982858"/>
                  <a:ext cx="4051771" cy="3967244"/>
                </a:xfrm>
                <a:prstGeom prst="rect">
                  <a:avLst/>
                </a:prstGeom>
                <a:noFill/>
              </p:spPr>
              <p:txBody>
                <a:bodyPr wrap="square" lIns="0" tIns="0" rIns="0" bIns="0" rtlCol="0">
                  <a:prstTxWarp prst="textArchUp">
                    <a:avLst>
                      <a:gd name="adj" fmla="val 13826547"/>
                    </a:avLst>
                  </a:prstTxWarp>
                  <a:spAutoFit/>
                </a:bodyPr>
                <a:lstStyle/>
                <a:p>
                  <a:pPr marL="0" marR="0" lvl="0" indent="0" algn="l" defTabSz="1219170" rtl="0" eaLnBrk="1" fontAlgn="auto" latinLnBrk="0" hangingPunct="1">
                    <a:lnSpc>
                      <a:spcPct val="100000"/>
                    </a:lnSpc>
                    <a:spcBef>
                      <a:spcPts val="0"/>
                    </a:spcBef>
                    <a:spcAft>
                      <a:spcPts val="0"/>
                    </a:spcAft>
                    <a:buClrTx/>
                    <a:buSzPct val="25000"/>
                    <a:buFontTx/>
                    <a:buNone/>
                    <a:tabLst/>
                    <a:defRPr/>
                  </a:pPr>
                  <a:r>
                    <a:rPr kumimoji="0" lang="en-US" sz="1300" b="1" i="0" u="none" strike="noStrike" kern="0" cap="none" spc="0" normalizeH="0" baseline="0" noProof="0" dirty="0">
                      <a:ln>
                        <a:noFill/>
                      </a:ln>
                      <a:solidFill>
                        <a:srgbClr val="86BC25"/>
                      </a:solidFill>
                      <a:effectLst/>
                      <a:uLnTx/>
                      <a:uFillTx/>
                      <a:latin typeface="Calibri Light" panose="020F0302020204030204" pitchFamily="34" charset="0"/>
                      <a:ea typeface="+mn-ea"/>
                      <a:cs typeface="Calibri Light" panose="020F0302020204030204" pitchFamily="34" charset="0"/>
                    </a:rPr>
                    <a:t>    CƠ CẤU ỨNG PHÓ CỦA TỔ CHỨC </a:t>
                  </a:r>
                </a:p>
              </p:txBody>
            </p:sp>
            <p:grpSp>
              <p:nvGrpSpPr>
                <p:cNvPr id="36" name="Group 35">
                  <a:extLst>
                    <a:ext uri="{FF2B5EF4-FFF2-40B4-BE49-F238E27FC236}">
                      <a16:creationId xmlns:a16="http://schemas.microsoft.com/office/drawing/2014/main" id="{25D69C16-58B4-4BD5-8439-975391B83B8A}"/>
                    </a:ext>
                  </a:extLst>
                </p:cNvPr>
                <p:cNvGrpSpPr/>
                <p:nvPr/>
              </p:nvGrpSpPr>
              <p:grpSpPr>
                <a:xfrm>
                  <a:off x="-5481873" y="-1227828"/>
                  <a:ext cx="4520651" cy="4561737"/>
                  <a:chOff x="-9220558" y="-3286355"/>
                  <a:chExt cx="4520651" cy="4561737"/>
                </a:xfrm>
              </p:grpSpPr>
              <p:grpSp>
                <p:nvGrpSpPr>
                  <p:cNvPr id="37" name="Group 36">
                    <a:extLst>
                      <a:ext uri="{FF2B5EF4-FFF2-40B4-BE49-F238E27FC236}">
                        <a16:creationId xmlns:a16="http://schemas.microsoft.com/office/drawing/2014/main" id="{999A83B3-4B56-4A9D-B712-6BEFC01944DB}"/>
                      </a:ext>
                    </a:extLst>
                  </p:cNvPr>
                  <p:cNvGrpSpPr/>
                  <p:nvPr/>
                </p:nvGrpSpPr>
                <p:grpSpPr>
                  <a:xfrm>
                    <a:off x="-8896013" y="-2924068"/>
                    <a:ext cx="3896213" cy="3819418"/>
                    <a:chOff x="10496620" y="5692513"/>
                    <a:chExt cx="4173170" cy="4090916"/>
                  </a:xfrm>
                </p:grpSpPr>
                <p:grpSp>
                  <p:nvGrpSpPr>
                    <p:cNvPr id="44" name="Group 43">
                      <a:extLst>
                        <a:ext uri="{FF2B5EF4-FFF2-40B4-BE49-F238E27FC236}">
                          <a16:creationId xmlns:a16="http://schemas.microsoft.com/office/drawing/2014/main" id="{02F89BA2-3A03-4D62-8574-71AD197F821C}"/>
                        </a:ext>
                      </a:extLst>
                    </p:cNvPr>
                    <p:cNvGrpSpPr/>
                    <p:nvPr/>
                  </p:nvGrpSpPr>
                  <p:grpSpPr>
                    <a:xfrm rot="1130529">
                      <a:off x="10552762" y="5692513"/>
                      <a:ext cx="4090918" cy="4090916"/>
                      <a:chOff x="5072063" y="2328863"/>
                      <a:chExt cx="5402263" cy="5402263"/>
                    </a:xfrm>
                  </p:grpSpPr>
                  <p:sp>
                    <p:nvSpPr>
                      <p:cNvPr id="75" name="Freeform 5">
                        <a:extLst>
                          <a:ext uri="{FF2B5EF4-FFF2-40B4-BE49-F238E27FC236}">
                            <a16:creationId xmlns:a16="http://schemas.microsoft.com/office/drawing/2014/main" id="{5B5C81AC-BFBC-4257-9E19-1B746F09363B}"/>
                          </a:ext>
                        </a:extLst>
                      </p:cNvPr>
                      <p:cNvSpPr>
                        <a:spLocks/>
                      </p:cNvSpPr>
                      <p:nvPr/>
                    </p:nvSpPr>
                    <p:spPr bwMode="auto">
                      <a:xfrm>
                        <a:off x="7767638" y="2328863"/>
                        <a:ext cx="1733550" cy="2700338"/>
                      </a:xfrm>
                      <a:custGeom>
                        <a:avLst/>
                        <a:gdLst>
                          <a:gd name="T0" fmla="*/ 1138 w 1138"/>
                          <a:gd name="T1" fmla="*/ 411 h 1772"/>
                          <a:gd name="T2" fmla="*/ 4 w 1138"/>
                          <a:gd name="T3" fmla="*/ 0 h 1772"/>
                          <a:gd name="T4" fmla="*/ 0 w 1138"/>
                          <a:gd name="T5" fmla="*/ 0 h 1772"/>
                          <a:gd name="T6" fmla="*/ 4 w 1138"/>
                          <a:gd name="T7" fmla="*/ 1772 h 1772"/>
                          <a:gd name="T8" fmla="*/ 1138 w 1138"/>
                          <a:gd name="T9" fmla="*/ 411 h 1772"/>
                        </a:gdLst>
                        <a:ahLst/>
                        <a:cxnLst>
                          <a:cxn ang="0">
                            <a:pos x="T0" y="T1"/>
                          </a:cxn>
                          <a:cxn ang="0">
                            <a:pos x="T2" y="T3"/>
                          </a:cxn>
                          <a:cxn ang="0">
                            <a:pos x="T4" y="T5"/>
                          </a:cxn>
                          <a:cxn ang="0">
                            <a:pos x="T6" y="T7"/>
                          </a:cxn>
                          <a:cxn ang="0">
                            <a:pos x="T8" y="T9"/>
                          </a:cxn>
                        </a:cxnLst>
                        <a:rect l="0" t="0" r="r" b="b"/>
                        <a:pathLst>
                          <a:path w="1138" h="1772">
                            <a:moveTo>
                              <a:pt x="1138" y="411"/>
                            </a:moveTo>
                            <a:cubicBezTo>
                              <a:pt x="820" y="145"/>
                              <a:pt x="418" y="0"/>
                              <a:pt x="4" y="0"/>
                            </a:cubicBezTo>
                            <a:cubicBezTo>
                              <a:pt x="2" y="0"/>
                              <a:pt x="1" y="0"/>
                              <a:pt x="0" y="0"/>
                            </a:cubicBezTo>
                            <a:lnTo>
                              <a:pt x="4" y="1772"/>
                            </a:lnTo>
                            <a:lnTo>
                              <a:pt x="1138" y="411"/>
                            </a:lnTo>
                            <a:close/>
                          </a:path>
                        </a:pathLst>
                      </a:custGeom>
                      <a:solidFill>
                        <a:srgbClr val="86BC25"/>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6" name="Freeform 6">
                        <a:extLst>
                          <a:ext uri="{FF2B5EF4-FFF2-40B4-BE49-F238E27FC236}">
                            <a16:creationId xmlns:a16="http://schemas.microsoft.com/office/drawing/2014/main" id="{D7D7AAB1-FA94-4F82-8FF0-AD192670D43A}"/>
                          </a:ext>
                        </a:extLst>
                      </p:cNvPr>
                      <p:cNvSpPr>
                        <a:spLocks/>
                      </p:cNvSpPr>
                      <p:nvPr/>
                    </p:nvSpPr>
                    <p:spPr bwMode="auto">
                      <a:xfrm>
                        <a:off x="7772401" y="2955926"/>
                        <a:ext cx="2659063" cy="2073275"/>
                      </a:xfrm>
                      <a:custGeom>
                        <a:avLst/>
                        <a:gdLst>
                          <a:gd name="T0" fmla="*/ 1744 w 1744"/>
                          <a:gd name="T1" fmla="*/ 1050 h 1361"/>
                          <a:gd name="T2" fmla="*/ 1134 w 1744"/>
                          <a:gd name="T3" fmla="*/ 0 h 1361"/>
                          <a:gd name="T4" fmla="*/ 0 w 1744"/>
                          <a:gd name="T5" fmla="*/ 1361 h 1361"/>
                          <a:gd name="T6" fmla="*/ 1744 w 1744"/>
                          <a:gd name="T7" fmla="*/ 1050 h 1361"/>
                        </a:gdLst>
                        <a:ahLst/>
                        <a:cxnLst>
                          <a:cxn ang="0">
                            <a:pos x="T0" y="T1"/>
                          </a:cxn>
                          <a:cxn ang="0">
                            <a:pos x="T2" y="T3"/>
                          </a:cxn>
                          <a:cxn ang="0">
                            <a:pos x="T4" y="T5"/>
                          </a:cxn>
                          <a:cxn ang="0">
                            <a:pos x="T6" y="T7"/>
                          </a:cxn>
                        </a:cxnLst>
                        <a:rect l="0" t="0" r="r" b="b"/>
                        <a:pathLst>
                          <a:path w="1744" h="1361">
                            <a:moveTo>
                              <a:pt x="1744" y="1050"/>
                            </a:moveTo>
                            <a:cubicBezTo>
                              <a:pt x="1671" y="639"/>
                              <a:pt x="1455" y="267"/>
                              <a:pt x="1134" y="0"/>
                            </a:cubicBezTo>
                            <a:lnTo>
                              <a:pt x="0" y="1361"/>
                            </a:lnTo>
                            <a:lnTo>
                              <a:pt x="1744" y="1050"/>
                            </a:lnTo>
                            <a:close/>
                          </a:path>
                        </a:pathLst>
                      </a:custGeom>
                      <a:solidFill>
                        <a:srgbClr val="86BC25"/>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7" name="Freeform 7">
                        <a:extLst>
                          <a:ext uri="{FF2B5EF4-FFF2-40B4-BE49-F238E27FC236}">
                            <a16:creationId xmlns:a16="http://schemas.microsoft.com/office/drawing/2014/main" id="{5DF99AD7-88B8-42B1-9C90-F01DE41E6831}"/>
                          </a:ext>
                        </a:extLst>
                      </p:cNvPr>
                      <p:cNvSpPr>
                        <a:spLocks/>
                      </p:cNvSpPr>
                      <p:nvPr/>
                    </p:nvSpPr>
                    <p:spPr bwMode="auto">
                      <a:xfrm>
                        <a:off x="7772401" y="4556126"/>
                        <a:ext cx="2701925" cy="1825625"/>
                      </a:xfrm>
                      <a:custGeom>
                        <a:avLst/>
                        <a:gdLst>
                          <a:gd name="T0" fmla="*/ 1533 w 1772"/>
                          <a:gd name="T1" fmla="*/ 1198 h 1198"/>
                          <a:gd name="T2" fmla="*/ 1772 w 1772"/>
                          <a:gd name="T3" fmla="*/ 311 h 1198"/>
                          <a:gd name="T4" fmla="*/ 1744 w 1772"/>
                          <a:gd name="T5" fmla="*/ 0 h 1198"/>
                          <a:gd name="T6" fmla="*/ 0 w 1772"/>
                          <a:gd name="T7" fmla="*/ 311 h 1198"/>
                          <a:gd name="T8" fmla="*/ 1533 w 1772"/>
                          <a:gd name="T9" fmla="*/ 1198 h 1198"/>
                        </a:gdLst>
                        <a:ahLst/>
                        <a:cxnLst>
                          <a:cxn ang="0">
                            <a:pos x="T0" y="T1"/>
                          </a:cxn>
                          <a:cxn ang="0">
                            <a:pos x="T2" y="T3"/>
                          </a:cxn>
                          <a:cxn ang="0">
                            <a:pos x="T4" y="T5"/>
                          </a:cxn>
                          <a:cxn ang="0">
                            <a:pos x="T6" y="T7"/>
                          </a:cxn>
                          <a:cxn ang="0">
                            <a:pos x="T8" y="T9"/>
                          </a:cxn>
                        </a:cxnLst>
                        <a:rect l="0" t="0" r="r" b="b"/>
                        <a:pathLst>
                          <a:path w="1772" h="1198">
                            <a:moveTo>
                              <a:pt x="1533" y="1198"/>
                            </a:moveTo>
                            <a:cubicBezTo>
                              <a:pt x="1689" y="928"/>
                              <a:pt x="1772" y="622"/>
                              <a:pt x="1772" y="311"/>
                            </a:cubicBezTo>
                            <a:cubicBezTo>
                              <a:pt x="1772" y="206"/>
                              <a:pt x="1762" y="102"/>
                              <a:pt x="1744" y="0"/>
                            </a:cubicBezTo>
                            <a:lnTo>
                              <a:pt x="0" y="311"/>
                            </a:lnTo>
                            <a:lnTo>
                              <a:pt x="1533" y="1198"/>
                            </a:lnTo>
                            <a:close/>
                          </a:path>
                        </a:pathLst>
                      </a:custGeom>
                      <a:solidFill>
                        <a:srgbClr val="012169"/>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8" name="Freeform 8">
                        <a:extLst>
                          <a:ext uri="{FF2B5EF4-FFF2-40B4-BE49-F238E27FC236}">
                            <a16:creationId xmlns:a16="http://schemas.microsoft.com/office/drawing/2014/main" id="{6DDA5406-5D46-4F7A-8216-432087D7C26D}"/>
                          </a:ext>
                        </a:extLst>
                      </p:cNvPr>
                      <p:cNvSpPr>
                        <a:spLocks/>
                      </p:cNvSpPr>
                      <p:nvPr/>
                    </p:nvSpPr>
                    <p:spPr bwMode="auto">
                      <a:xfrm>
                        <a:off x="7772401" y="5029201"/>
                        <a:ext cx="2336800" cy="2538413"/>
                      </a:xfrm>
                      <a:custGeom>
                        <a:avLst/>
                        <a:gdLst>
                          <a:gd name="T0" fmla="*/ 604 w 1533"/>
                          <a:gd name="T1" fmla="*/ 1665 h 1665"/>
                          <a:gd name="T2" fmla="*/ 1533 w 1533"/>
                          <a:gd name="T3" fmla="*/ 887 h 1665"/>
                          <a:gd name="T4" fmla="*/ 0 w 1533"/>
                          <a:gd name="T5" fmla="*/ 0 h 1665"/>
                          <a:gd name="T6" fmla="*/ 604 w 1533"/>
                          <a:gd name="T7" fmla="*/ 1665 h 1665"/>
                        </a:gdLst>
                        <a:ahLst/>
                        <a:cxnLst>
                          <a:cxn ang="0">
                            <a:pos x="T0" y="T1"/>
                          </a:cxn>
                          <a:cxn ang="0">
                            <a:pos x="T2" y="T3"/>
                          </a:cxn>
                          <a:cxn ang="0">
                            <a:pos x="T4" y="T5"/>
                          </a:cxn>
                          <a:cxn ang="0">
                            <a:pos x="T6" y="T7"/>
                          </a:cxn>
                        </a:cxnLst>
                        <a:rect l="0" t="0" r="r" b="b"/>
                        <a:pathLst>
                          <a:path w="1533" h="1665">
                            <a:moveTo>
                              <a:pt x="604" y="1665"/>
                            </a:moveTo>
                            <a:cubicBezTo>
                              <a:pt x="996" y="1523"/>
                              <a:pt x="1324" y="1248"/>
                              <a:pt x="1533" y="887"/>
                            </a:cubicBezTo>
                            <a:lnTo>
                              <a:pt x="0" y="0"/>
                            </a:lnTo>
                            <a:lnTo>
                              <a:pt x="604" y="1665"/>
                            </a:lnTo>
                            <a:close/>
                          </a:path>
                        </a:pathLst>
                      </a:custGeom>
                      <a:solidFill>
                        <a:srgbClr val="012169"/>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9" name="Freeform 9">
                        <a:extLst>
                          <a:ext uri="{FF2B5EF4-FFF2-40B4-BE49-F238E27FC236}">
                            <a16:creationId xmlns:a16="http://schemas.microsoft.com/office/drawing/2014/main" id="{75560BD0-301A-4270-8248-FBFD80909C84}"/>
                          </a:ext>
                        </a:extLst>
                      </p:cNvPr>
                      <p:cNvSpPr>
                        <a:spLocks/>
                      </p:cNvSpPr>
                      <p:nvPr/>
                    </p:nvSpPr>
                    <p:spPr bwMode="auto">
                      <a:xfrm>
                        <a:off x="6840539" y="5029200"/>
                        <a:ext cx="1852613" cy="2701926"/>
                      </a:xfrm>
                      <a:custGeom>
                        <a:avLst/>
                        <a:gdLst>
                          <a:gd name="T0" fmla="*/ 0 w 1216"/>
                          <a:gd name="T1" fmla="*/ 1663 h 1772"/>
                          <a:gd name="T2" fmla="*/ 612 w 1216"/>
                          <a:gd name="T3" fmla="*/ 1772 h 1772"/>
                          <a:gd name="T4" fmla="*/ 1216 w 1216"/>
                          <a:gd name="T5" fmla="*/ 1665 h 1772"/>
                          <a:gd name="T6" fmla="*/ 612 w 1216"/>
                          <a:gd name="T7" fmla="*/ 0 h 1772"/>
                          <a:gd name="T8" fmla="*/ 0 w 1216"/>
                          <a:gd name="T9" fmla="*/ 1663 h 1772"/>
                        </a:gdLst>
                        <a:ahLst/>
                        <a:cxnLst>
                          <a:cxn ang="0">
                            <a:pos x="T0" y="T1"/>
                          </a:cxn>
                          <a:cxn ang="0">
                            <a:pos x="T2" y="T3"/>
                          </a:cxn>
                          <a:cxn ang="0">
                            <a:pos x="T4" y="T5"/>
                          </a:cxn>
                          <a:cxn ang="0">
                            <a:pos x="T6" y="T7"/>
                          </a:cxn>
                          <a:cxn ang="0">
                            <a:pos x="T8" y="T9"/>
                          </a:cxn>
                        </a:cxnLst>
                        <a:rect l="0" t="0" r="r" b="b"/>
                        <a:pathLst>
                          <a:path w="1216" h="1772">
                            <a:moveTo>
                              <a:pt x="0" y="1663"/>
                            </a:moveTo>
                            <a:cubicBezTo>
                              <a:pt x="196" y="1735"/>
                              <a:pt x="403" y="1772"/>
                              <a:pt x="612" y="1772"/>
                            </a:cubicBezTo>
                            <a:cubicBezTo>
                              <a:pt x="818" y="1772"/>
                              <a:pt x="1022" y="1735"/>
                              <a:pt x="1216" y="1665"/>
                            </a:cubicBezTo>
                            <a:lnTo>
                              <a:pt x="612" y="0"/>
                            </a:lnTo>
                            <a:lnTo>
                              <a:pt x="0" y="1663"/>
                            </a:lnTo>
                            <a:close/>
                          </a:path>
                        </a:pathLst>
                      </a:custGeom>
                      <a:solidFill>
                        <a:srgbClr val="012169"/>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80" name="Freeform 10">
                        <a:extLst>
                          <a:ext uri="{FF2B5EF4-FFF2-40B4-BE49-F238E27FC236}">
                            <a16:creationId xmlns:a16="http://schemas.microsoft.com/office/drawing/2014/main" id="{BAF8DFDA-B076-4C1C-B4B1-981FE9D09107}"/>
                          </a:ext>
                        </a:extLst>
                      </p:cNvPr>
                      <p:cNvSpPr>
                        <a:spLocks/>
                      </p:cNvSpPr>
                      <p:nvPr/>
                    </p:nvSpPr>
                    <p:spPr bwMode="auto">
                      <a:xfrm>
                        <a:off x="5432425" y="5029201"/>
                        <a:ext cx="2339975" cy="2535239"/>
                      </a:xfrm>
                      <a:custGeom>
                        <a:avLst/>
                        <a:gdLst>
                          <a:gd name="T0" fmla="*/ 0 w 1536"/>
                          <a:gd name="T1" fmla="*/ 884 h 1663"/>
                          <a:gd name="T2" fmla="*/ 924 w 1536"/>
                          <a:gd name="T3" fmla="*/ 1663 h 1663"/>
                          <a:gd name="T4" fmla="*/ 1536 w 1536"/>
                          <a:gd name="T5" fmla="*/ 0 h 1663"/>
                          <a:gd name="T6" fmla="*/ 0 w 1536"/>
                          <a:gd name="T7" fmla="*/ 884 h 1663"/>
                        </a:gdLst>
                        <a:ahLst/>
                        <a:cxnLst>
                          <a:cxn ang="0">
                            <a:pos x="T0" y="T1"/>
                          </a:cxn>
                          <a:cxn ang="0">
                            <a:pos x="T2" y="T3"/>
                          </a:cxn>
                          <a:cxn ang="0">
                            <a:pos x="T4" y="T5"/>
                          </a:cxn>
                          <a:cxn ang="0">
                            <a:pos x="T6" y="T7"/>
                          </a:cxn>
                        </a:cxnLst>
                        <a:rect l="0" t="0" r="r" b="b"/>
                        <a:pathLst>
                          <a:path w="1536" h="1663">
                            <a:moveTo>
                              <a:pt x="0" y="884"/>
                            </a:moveTo>
                            <a:cubicBezTo>
                              <a:pt x="207" y="1244"/>
                              <a:pt x="534" y="1519"/>
                              <a:pt x="924" y="1663"/>
                            </a:cubicBezTo>
                            <a:lnTo>
                              <a:pt x="1536" y="0"/>
                            </a:lnTo>
                            <a:lnTo>
                              <a:pt x="0" y="884"/>
                            </a:lnTo>
                            <a:close/>
                          </a:path>
                        </a:pathLst>
                      </a:custGeom>
                      <a:solidFill>
                        <a:srgbClr val="62B5E5"/>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81" name="Freeform 11">
                        <a:extLst>
                          <a:ext uri="{FF2B5EF4-FFF2-40B4-BE49-F238E27FC236}">
                            <a16:creationId xmlns:a16="http://schemas.microsoft.com/office/drawing/2014/main" id="{68B948D3-C8B2-4D6F-AE68-828E77172C83}"/>
                          </a:ext>
                        </a:extLst>
                      </p:cNvPr>
                      <p:cNvSpPr>
                        <a:spLocks/>
                      </p:cNvSpPr>
                      <p:nvPr/>
                    </p:nvSpPr>
                    <p:spPr bwMode="auto">
                      <a:xfrm>
                        <a:off x="5072063" y="4557713"/>
                        <a:ext cx="2700338" cy="1819275"/>
                      </a:xfrm>
                      <a:custGeom>
                        <a:avLst/>
                        <a:gdLst>
                          <a:gd name="T0" fmla="*/ 27 w 1772"/>
                          <a:gd name="T1" fmla="*/ 0 h 1194"/>
                          <a:gd name="T2" fmla="*/ 0 w 1772"/>
                          <a:gd name="T3" fmla="*/ 309 h 1194"/>
                          <a:gd name="T4" fmla="*/ 236 w 1772"/>
                          <a:gd name="T5" fmla="*/ 1194 h 1194"/>
                          <a:gd name="T6" fmla="*/ 1772 w 1772"/>
                          <a:gd name="T7" fmla="*/ 310 h 1194"/>
                          <a:gd name="T8" fmla="*/ 27 w 1772"/>
                          <a:gd name="T9" fmla="*/ 0 h 1194"/>
                        </a:gdLst>
                        <a:ahLst/>
                        <a:cxnLst>
                          <a:cxn ang="0">
                            <a:pos x="T0" y="T1"/>
                          </a:cxn>
                          <a:cxn ang="0">
                            <a:pos x="T2" y="T3"/>
                          </a:cxn>
                          <a:cxn ang="0">
                            <a:pos x="T4" y="T5"/>
                          </a:cxn>
                          <a:cxn ang="0">
                            <a:pos x="T6" y="T7"/>
                          </a:cxn>
                          <a:cxn ang="0">
                            <a:pos x="T8" y="T9"/>
                          </a:cxn>
                        </a:cxnLst>
                        <a:rect l="0" t="0" r="r" b="b"/>
                        <a:pathLst>
                          <a:path w="1772" h="1194">
                            <a:moveTo>
                              <a:pt x="27" y="0"/>
                            </a:moveTo>
                            <a:cubicBezTo>
                              <a:pt x="9" y="102"/>
                              <a:pt x="0" y="206"/>
                              <a:pt x="0" y="309"/>
                            </a:cubicBezTo>
                            <a:cubicBezTo>
                              <a:pt x="0" y="620"/>
                              <a:pt x="81" y="925"/>
                              <a:pt x="236" y="1194"/>
                            </a:cubicBezTo>
                            <a:lnTo>
                              <a:pt x="1772" y="310"/>
                            </a:lnTo>
                            <a:lnTo>
                              <a:pt x="27" y="0"/>
                            </a:lnTo>
                            <a:close/>
                          </a:path>
                        </a:pathLst>
                      </a:custGeom>
                      <a:solidFill>
                        <a:srgbClr val="62B5E5"/>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82" name="Freeform 12">
                        <a:extLst>
                          <a:ext uri="{FF2B5EF4-FFF2-40B4-BE49-F238E27FC236}">
                            <a16:creationId xmlns:a16="http://schemas.microsoft.com/office/drawing/2014/main" id="{485DB335-4281-440A-9EBD-F2F422DBDBD1}"/>
                          </a:ext>
                        </a:extLst>
                      </p:cNvPr>
                      <p:cNvSpPr>
                        <a:spLocks/>
                      </p:cNvSpPr>
                      <p:nvPr/>
                    </p:nvSpPr>
                    <p:spPr bwMode="auto">
                      <a:xfrm>
                        <a:off x="5113338" y="2960688"/>
                        <a:ext cx="2659063" cy="2068513"/>
                      </a:xfrm>
                      <a:custGeom>
                        <a:avLst/>
                        <a:gdLst>
                          <a:gd name="T0" fmla="*/ 606 w 1745"/>
                          <a:gd name="T1" fmla="*/ 0 h 1358"/>
                          <a:gd name="T2" fmla="*/ 0 w 1745"/>
                          <a:gd name="T3" fmla="*/ 1048 h 1358"/>
                          <a:gd name="T4" fmla="*/ 1745 w 1745"/>
                          <a:gd name="T5" fmla="*/ 1358 h 1358"/>
                          <a:gd name="T6" fmla="*/ 606 w 1745"/>
                          <a:gd name="T7" fmla="*/ 0 h 1358"/>
                        </a:gdLst>
                        <a:ahLst/>
                        <a:cxnLst>
                          <a:cxn ang="0">
                            <a:pos x="T0" y="T1"/>
                          </a:cxn>
                          <a:cxn ang="0">
                            <a:pos x="T2" y="T3"/>
                          </a:cxn>
                          <a:cxn ang="0">
                            <a:pos x="T4" y="T5"/>
                          </a:cxn>
                          <a:cxn ang="0">
                            <a:pos x="T6" y="T7"/>
                          </a:cxn>
                        </a:cxnLst>
                        <a:rect l="0" t="0" r="r" b="b"/>
                        <a:pathLst>
                          <a:path w="1745" h="1358">
                            <a:moveTo>
                              <a:pt x="606" y="0"/>
                            </a:moveTo>
                            <a:cubicBezTo>
                              <a:pt x="287" y="267"/>
                              <a:pt x="72" y="638"/>
                              <a:pt x="0" y="1048"/>
                            </a:cubicBezTo>
                            <a:lnTo>
                              <a:pt x="1745" y="1358"/>
                            </a:lnTo>
                            <a:lnTo>
                              <a:pt x="606" y="0"/>
                            </a:lnTo>
                            <a:close/>
                          </a:path>
                        </a:pathLst>
                      </a:custGeom>
                      <a:solidFill>
                        <a:srgbClr val="62B5E5"/>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83" name="Freeform 13">
                        <a:extLst>
                          <a:ext uri="{FF2B5EF4-FFF2-40B4-BE49-F238E27FC236}">
                            <a16:creationId xmlns:a16="http://schemas.microsoft.com/office/drawing/2014/main" id="{F4D6ED57-DFE3-44FA-ABCE-4E9821F4578A}"/>
                          </a:ext>
                        </a:extLst>
                      </p:cNvPr>
                      <p:cNvSpPr>
                        <a:spLocks/>
                      </p:cNvSpPr>
                      <p:nvPr/>
                    </p:nvSpPr>
                    <p:spPr bwMode="auto">
                      <a:xfrm>
                        <a:off x="6037263" y="2328863"/>
                        <a:ext cx="1735138" cy="2700338"/>
                      </a:xfrm>
                      <a:custGeom>
                        <a:avLst/>
                        <a:gdLst>
                          <a:gd name="T0" fmla="*/ 1135 w 1139"/>
                          <a:gd name="T1" fmla="*/ 0 h 1772"/>
                          <a:gd name="T2" fmla="*/ 0 w 1139"/>
                          <a:gd name="T3" fmla="*/ 414 h 1772"/>
                          <a:gd name="T4" fmla="*/ 1139 w 1139"/>
                          <a:gd name="T5" fmla="*/ 1772 h 1772"/>
                          <a:gd name="T6" fmla="*/ 1135 w 1139"/>
                          <a:gd name="T7" fmla="*/ 0 h 1772"/>
                        </a:gdLst>
                        <a:ahLst/>
                        <a:cxnLst>
                          <a:cxn ang="0">
                            <a:pos x="T0" y="T1"/>
                          </a:cxn>
                          <a:cxn ang="0">
                            <a:pos x="T2" y="T3"/>
                          </a:cxn>
                          <a:cxn ang="0">
                            <a:pos x="T4" y="T5"/>
                          </a:cxn>
                          <a:cxn ang="0">
                            <a:pos x="T6" y="T7"/>
                          </a:cxn>
                        </a:cxnLst>
                        <a:rect l="0" t="0" r="r" b="b"/>
                        <a:pathLst>
                          <a:path w="1139" h="1772">
                            <a:moveTo>
                              <a:pt x="1135" y="0"/>
                            </a:moveTo>
                            <a:cubicBezTo>
                              <a:pt x="719" y="0"/>
                              <a:pt x="318" y="147"/>
                              <a:pt x="0" y="414"/>
                            </a:cubicBezTo>
                            <a:lnTo>
                              <a:pt x="1139" y="1772"/>
                            </a:lnTo>
                            <a:lnTo>
                              <a:pt x="1135" y="0"/>
                            </a:lnTo>
                            <a:close/>
                          </a:path>
                        </a:pathLst>
                      </a:custGeom>
                      <a:solidFill>
                        <a:srgbClr val="86BC25"/>
                      </a:solidFill>
                      <a:ln w="9525">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grpSp>
                <p:sp>
                  <p:nvSpPr>
                    <p:cNvPr id="45" name="Oval 44">
                      <a:extLst>
                        <a:ext uri="{FF2B5EF4-FFF2-40B4-BE49-F238E27FC236}">
                          <a16:creationId xmlns:a16="http://schemas.microsoft.com/office/drawing/2014/main" id="{74923D42-DFD0-4F47-8B9F-98A24F8AF339}"/>
                        </a:ext>
                      </a:extLst>
                    </p:cNvPr>
                    <p:cNvSpPr/>
                    <p:nvPr/>
                  </p:nvSpPr>
                  <p:spPr>
                    <a:xfrm>
                      <a:off x="11917833" y="7040840"/>
                      <a:ext cx="1394264" cy="1394262"/>
                    </a:xfrm>
                    <a:prstGeom prst="ellipse">
                      <a:avLst/>
                    </a:prstGeom>
                    <a:solidFill>
                      <a:sysClr val="window" lastClr="FFFFFF"/>
                    </a:solidFill>
                    <a:ln w="9525" cap="flat" cmpd="sng" algn="ctr">
                      <a:solidFill>
                        <a:sysClr val="window" lastClr="FFFFFF"/>
                      </a:solidFill>
                      <a:prstDash val="solid"/>
                    </a:ln>
                    <a:effectLst/>
                  </p:spPr>
                  <p:txBody>
                    <a:bodyPr lIns="0" r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Khung</a:t>
                      </a:r>
                      <a:r>
                        <a:rPr kumimoji="0" lang="en-US" sz="1100" b="1" i="0" u="none" strike="noStrike" kern="0" cap="none" spc="0" normalizeH="0" baseline="0" noProof="0" dirty="0">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1" i="0" u="none" strike="noStrike" kern="0" cap="none" spc="0" normalizeH="0" baseline="0" noProof="0" dirty="0" err="1">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100" b="1" i="0" u="none" strike="noStrike" kern="0" cap="none" spc="0" normalizeH="0" baseline="0" noProof="0" dirty="0">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1" i="0" u="none" strike="noStrike" kern="0" cap="none" spc="0" normalizeH="0" baseline="0" noProof="0" dirty="0" err="1">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Lý</a:t>
                      </a:r>
                      <a:r>
                        <a:rPr kumimoji="0" lang="en-US" sz="1100" b="1" i="0" u="none" strike="noStrike" kern="0" cap="none" spc="0" normalizeH="0" baseline="0" noProof="0" dirty="0">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1" i="0" u="none" strike="noStrike" kern="0" cap="none" spc="0" normalizeH="0" baseline="0" noProof="0" dirty="0" err="1">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100" b="1" i="0" u="none" strike="noStrike" kern="0" cap="none" spc="0" normalizeH="0" baseline="0" noProof="0" dirty="0">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1" i="0" u="none" strike="noStrike" kern="0" cap="none" spc="0" normalizeH="0" baseline="0" noProof="0" dirty="0" err="1">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endParaRPr kumimoji="0" lang="en-US" sz="1100" b="1" i="0" u="none" strike="noStrike" kern="0" cap="none" spc="0" normalizeH="0" baseline="0" noProof="0" dirty="0">
                        <a:ln>
                          <a:noFill/>
                        </a:ln>
                        <a:solidFill>
                          <a:prstClr val="black">
                            <a:lumMod val="50000"/>
                            <a:lumOff val="50000"/>
                          </a:prstClr>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46" name="Freeform 95">
                      <a:extLst>
                        <a:ext uri="{FF2B5EF4-FFF2-40B4-BE49-F238E27FC236}">
                          <a16:creationId xmlns:a16="http://schemas.microsoft.com/office/drawing/2014/main" id="{3069B002-7270-4DBF-927F-FFB2C45AC6CA}"/>
                        </a:ext>
                      </a:extLst>
                    </p:cNvPr>
                    <p:cNvSpPr>
                      <a:spLocks noChangeAspect="1" noEditPoints="1"/>
                    </p:cNvSpPr>
                    <p:nvPr/>
                  </p:nvSpPr>
                  <p:spPr bwMode="auto">
                    <a:xfrm>
                      <a:off x="12392706" y="6547143"/>
                      <a:ext cx="345503" cy="352952"/>
                    </a:xfrm>
                    <a:custGeom>
                      <a:avLst/>
                      <a:gdLst>
                        <a:gd name="T0" fmla="*/ 267 w 617"/>
                        <a:gd name="T1" fmla="*/ 71 h 573"/>
                        <a:gd name="T2" fmla="*/ 267 w 617"/>
                        <a:gd name="T3" fmla="*/ 20 h 573"/>
                        <a:gd name="T4" fmla="*/ 219 w 617"/>
                        <a:gd name="T5" fmla="*/ 1 h 573"/>
                        <a:gd name="T6" fmla="*/ 182 w 617"/>
                        <a:gd name="T7" fmla="*/ 45 h 573"/>
                        <a:gd name="T8" fmla="*/ 211 w 617"/>
                        <a:gd name="T9" fmla="*/ 88 h 573"/>
                        <a:gd name="T10" fmla="*/ 405 w 617"/>
                        <a:gd name="T11" fmla="*/ 101 h 573"/>
                        <a:gd name="T12" fmla="*/ 432 w 617"/>
                        <a:gd name="T13" fmla="*/ 59 h 573"/>
                        <a:gd name="T14" fmla="*/ 396 w 617"/>
                        <a:gd name="T15" fmla="*/ 15 h 573"/>
                        <a:gd name="T16" fmla="*/ 349 w 617"/>
                        <a:gd name="T17" fmla="*/ 34 h 573"/>
                        <a:gd name="T18" fmla="*/ 349 w 617"/>
                        <a:gd name="T19" fmla="*/ 85 h 573"/>
                        <a:gd name="T20" fmla="*/ 82 w 617"/>
                        <a:gd name="T21" fmla="*/ 135 h 573"/>
                        <a:gd name="T22" fmla="*/ 116 w 617"/>
                        <a:gd name="T23" fmla="*/ 111 h 573"/>
                        <a:gd name="T24" fmla="*/ 108 w 617"/>
                        <a:gd name="T25" fmla="*/ 70 h 573"/>
                        <a:gd name="T26" fmla="*/ 66 w 617"/>
                        <a:gd name="T27" fmla="*/ 62 h 573"/>
                        <a:gd name="T28" fmla="*/ 43 w 617"/>
                        <a:gd name="T29" fmla="*/ 96 h 573"/>
                        <a:gd name="T30" fmla="*/ 73 w 617"/>
                        <a:gd name="T31" fmla="*/ 134 h 573"/>
                        <a:gd name="T32" fmla="*/ 555 w 617"/>
                        <a:gd name="T33" fmla="*/ 117 h 573"/>
                        <a:gd name="T34" fmla="*/ 570 w 617"/>
                        <a:gd name="T35" fmla="*/ 78 h 573"/>
                        <a:gd name="T36" fmla="*/ 534 w 617"/>
                        <a:gd name="T37" fmla="*/ 47 h 573"/>
                        <a:gd name="T38" fmla="*/ 498 w 617"/>
                        <a:gd name="T39" fmla="*/ 71 h 573"/>
                        <a:gd name="T40" fmla="*/ 506 w 617"/>
                        <a:gd name="T41" fmla="*/ 112 h 573"/>
                        <a:gd name="T42" fmla="*/ 491 w 617"/>
                        <a:gd name="T43" fmla="*/ 142 h 573"/>
                        <a:gd name="T44" fmla="*/ 462 w 617"/>
                        <a:gd name="T45" fmla="*/ 132 h 573"/>
                        <a:gd name="T46" fmla="*/ 345 w 617"/>
                        <a:gd name="T47" fmla="*/ 124 h 573"/>
                        <a:gd name="T48" fmla="*/ 309 w 617"/>
                        <a:gd name="T49" fmla="*/ 135 h 573"/>
                        <a:gd name="T50" fmla="*/ 187 w 617"/>
                        <a:gd name="T51" fmla="*/ 117 h 573"/>
                        <a:gd name="T52" fmla="*/ 143 w 617"/>
                        <a:gd name="T53" fmla="*/ 148 h 573"/>
                        <a:gd name="T54" fmla="*/ 42 w 617"/>
                        <a:gd name="T55" fmla="*/ 152 h 573"/>
                        <a:gd name="T56" fmla="*/ 1 w 617"/>
                        <a:gd name="T57" fmla="*/ 191 h 573"/>
                        <a:gd name="T58" fmla="*/ 7 w 617"/>
                        <a:gd name="T59" fmla="*/ 336 h 573"/>
                        <a:gd name="T60" fmla="*/ 26 w 617"/>
                        <a:gd name="T61" fmla="*/ 331 h 573"/>
                        <a:gd name="T62" fmla="*/ 45 w 617"/>
                        <a:gd name="T63" fmla="*/ 498 h 573"/>
                        <a:gd name="T64" fmla="*/ 65 w 617"/>
                        <a:gd name="T65" fmla="*/ 530 h 573"/>
                        <a:gd name="T66" fmla="*/ 109 w 617"/>
                        <a:gd name="T67" fmla="*/ 525 h 573"/>
                        <a:gd name="T68" fmla="*/ 120 w 617"/>
                        <a:gd name="T69" fmla="*/ 193 h 573"/>
                        <a:gd name="T70" fmla="*/ 143 w 617"/>
                        <a:gd name="T71" fmla="*/ 336 h 573"/>
                        <a:gd name="T72" fmla="*/ 162 w 617"/>
                        <a:gd name="T73" fmla="*/ 333 h 573"/>
                        <a:gd name="T74" fmla="*/ 181 w 617"/>
                        <a:gd name="T75" fmla="*/ 528 h 573"/>
                        <a:gd name="T76" fmla="*/ 205 w 617"/>
                        <a:gd name="T77" fmla="*/ 571 h 573"/>
                        <a:gd name="T78" fmla="*/ 263 w 617"/>
                        <a:gd name="T79" fmla="*/ 568 h 573"/>
                        <a:gd name="T80" fmla="*/ 279 w 617"/>
                        <a:gd name="T81" fmla="*/ 340 h 573"/>
                        <a:gd name="T82" fmla="*/ 296 w 617"/>
                        <a:gd name="T83" fmla="*/ 330 h 573"/>
                        <a:gd name="T84" fmla="*/ 312 w 617"/>
                        <a:gd name="T85" fmla="*/ 337 h 573"/>
                        <a:gd name="T86" fmla="*/ 320 w 617"/>
                        <a:gd name="T87" fmla="*/ 178 h 573"/>
                        <a:gd name="T88" fmla="*/ 346 w 617"/>
                        <a:gd name="T89" fmla="*/ 554 h 573"/>
                        <a:gd name="T90" fmla="*/ 406 w 617"/>
                        <a:gd name="T91" fmla="*/ 569 h 573"/>
                        <a:gd name="T92" fmla="*/ 436 w 617"/>
                        <a:gd name="T93" fmla="*/ 533 h 573"/>
                        <a:gd name="T94" fmla="*/ 455 w 617"/>
                        <a:gd name="T95" fmla="*/ 178 h 573"/>
                        <a:gd name="T96" fmla="*/ 464 w 617"/>
                        <a:gd name="T97" fmla="*/ 337 h 573"/>
                        <a:gd name="T98" fmla="*/ 481 w 617"/>
                        <a:gd name="T99" fmla="*/ 324 h 573"/>
                        <a:gd name="T100" fmla="*/ 499 w 617"/>
                        <a:gd name="T101" fmla="*/ 483 h 573"/>
                        <a:gd name="T102" fmla="*/ 516 w 617"/>
                        <a:gd name="T103" fmla="*/ 520 h 573"/>
                        <a:gd name="T104" fmla="*/ 565 w 617"/>
                        <a:gd name="T105" fmla="*/ 513 h 573"/>
                        <a:gd name="T106" fmla="*/ 573 w 617"/>
                        <a:gd name="T107" fmla="*/ 193 h 573"/>
                        <a:gd name="T108" fmla="*/ 599 w 617"/>
                        <a:gd name="T109" fmla="*/ 336 h 573"/>
                        <a:gd name="T110" fmla="*/ 617 w 617"/>
                        <a:gd name="T111" fmla="*/ 197 h 573"/>
                        <a:gd name="T112" fmla="*/ 592 w 617"/>
                        <a:gd name="T113" fmla="*/ 147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7" h="573">
                          <a:moveTo>
                            <a:pt x="228" y="91"/>
                          </a:moveTo>
                          <a:lnTo>
                            <a:pt x="228" y="91"/>
                          </a:lnTo>
                          <a:lnTo>
                            <a:pt x="237" y="90"/>
                          </a:lnTo>
                          <a:lnTo>
                            <a:pt x="246" y="88"/>
                          </a:lnTo>
                          <a:lnTo>
                            <a:pt x="254" y="83"/>
                          </a:lnTo>
                          <a:lnTo>
                            <a:pt x="260" y="78"/>
                          </a:lnTo>
                          <a:lnTo>
                            <a:pt x="267" y="71"/>
                          </a:lnTo>
                          <a:lnTo>
                            <a:pt x="271" y="64"/>
                          </a:lnTo>
                          <a:lnTo>
                            <a:pt x="273" y="54"/>
                          </a:lnTo>
                          <a:lnTo>
                            <a:pt x="274" y="45"/>
                          </a:lnTo>
                          <a:lnTo>
                            <a:pt x="274" y="45"/>
                          </a:lnTo>
                          <a:lnTo>
                            <a:pt x="273" y="36"/>
                          </a:lnTo>
                          <a:lnTo>
                            <a:pt x="271" y="28"/>
                          </a:lnTo>
                          <a:lnTo>
                            <a:pt x="267" y="20"/>
                          </a:lnTo>
                          <a:lnTo>
                            <a:pt x="260" y="13"/>
                          </a:lnTo>
                          <a:lnTo>
                            <a:pt x="254" y="8"/>
                          </a:lnTo>
                          <a:lnTo>
                            <a:pt x="246" y="4"/>
                          </a:lnTo>
                          <a:lnTo>
                            <a:pt x="237" y="1"/>
                          </a:lnTo>
                          <a:lnTo>
                            <a:pt x="228" y="0"/>
                          </a:lnTo>
                          <a:lnTo>
                            <a:pt x="228" y="0"/>
                          </a:lnTo>
                          <a:lnTo>
                            <a:pt x="219" y="1"/>
                          </a:lnTo>
                          <a:lnTo>
                            <a:pt x="211" y="4"/>
                          </a:lnTo>
                          <a:lnTo>
                            <a:pt x="203" y="8"/>
                          </a:lnTo>
                          <a:lnTo>
                            <a:pt x="196" y="13"/>
                          </a:lnTo>
                          <a:lnTo>
                            <a:pt x="190" y="20"/>
                          </a:lnTo>
                          <a:lnTo>
                            <a:pt x="186" y="28"/>
                          </a:lnTo>
                          <a:lnTo>
                            <a:pt x="183" y="36"/>
                          </a:lnTo>
                          <a:lnTo>
                            <a:pt x="182" y="45"/>
                          </a:lnTo>
                          <a:lnTo>
                            <a:pt x="182" y="45"/>
                          </a:lnTo>
                          <a:lnTo>
                            <a:pt x="183" y="54"/>
                          </a:lnTo>
                          <a:lnTo>
                            <a:pt x="186" y="64"/>
                          </a:lnTo>
                          <a:lnTo>
                            <a:pt x="190" y="71"/>
                          </a:lnTo>
                          <a:lnTo>
                            <a:pt x="196" y="78"/>
                          </a:lnTo>
                          <a:lnTo>
                            <a:pt x="203" y="83"/>
                          </a:lnTo>
                          <a:lnTo>
                            <a:pt x="211" y="88"/>
                          </a:lnTo>
                          <a:lnTo>
                            <a:pt x="219" y="90"/>
                          </a:lnTo>
                          <a:lnTo>
                            <a:pt x="228" y="91"/>
                          </a:lnTo>
                          <a:lnTo>
                            <a:pt x="228" y="91"/>
                          </a:lnTo>
                          <a:close/>
                          <a:moveTo>
                            <a:pt x="386" y="105"/>
                          </a:moveTo>
                          <a:lnTo>
                            <a:pt x="386" y="105"/>
                          </a:lnTo>
                          <a:lnTo>
                            <a:pt x="396" y="104"/>
                          </a:lnTo>
                          <a:lnTo>
                            <a:pt x="405" y="101"/>
                          </a:lnTo>
                          <a:lnTo>
                            <a:pt x="412" y="97"/>
                          </a:lnTo>
                          <a:lnTo>
                            <a:pt x="419" y="92"/>
                          </a:lnTo>
                          <a:lnTo>
                            <a:pt x="424" y="85"/>
                          </a:lnTo>
                          <a:lnTo>
                            <a:pt x="429" y="78"/>
                          </a:lnTo>
                          <a:lnTo>
                            <a:pt x="431" y="69"/>
                          </a:lnTo>
                          <a:lnTo>
                            <a:pt x="432" y="59"/>
                          </a:lnTo>
                          <a:lnTo>
                            <a:pt x="432" y="59"/>
                          </a:lnTo>
                          <a:lnTo>
                            <a:pt x="431" y="50"/>
                          </a:lnTo>
                          <a:lnTo>
                            <a:pt x="429" y="41"/>
                          </a:lnTo>
                          <a:lnTo>
                            <a:pt x="424" y="34"/>
                          </a:lnTo>
                          <a:lnTo>
                            <a:pt x="419" y="27"/>
                          </a:lnTo>
                          <a:lnTo>
                            <a:pt x="412" y="22"/>
                          </a:lnTo>
                          <a:lnTo>
                            <a:pt x="405" y="18"/>
                          </a:lnTo>
                          <a:lnTo>
                            <a:pt x="396" y="15"/>
                          </a:lnTo>
                          <a:lnTo>
                            <a:pt x="386" y="14"/>
                          </a:lnTo>
                          <a:lnTo>
                            <a:pt x="386" y="14"/>
                          </a:lnTo>
                          <a:lnTo>
                            <a:pt x="377" y="15"/>
                          </a:lnTo>
                          <a:lnTo>
                            <a:pt x="369" y="18"/>
                          </a:lnTo>
                          <a:lnTo>
                            <a:pt x="361" y="22"/>
                          </a:lnTo>
                          <a:lnTo>
                            <a:pt x="354" y="27"/>
                          </a:lnTo>
                          <a:lnTo>
                            <a:pt x="349" y="34"/>
                          </a:lnTo>
                          <a:lnTo>
                            <a:pt x="345" y="41"/>
                          </a:lnTo>
                          <a:lnTo>
                            <a:pt x="342" y="50"/>
                          </a:lnTo>
                          <a:lnTo>
                            <a:pt x="341" y="59"/>
                          </a:lnTo>
                          <a:lnTo>
                            <a:pt x="341" y="59"/>
                          </a:lnTo>
                          <a:lnTo>
                            <a:pt x="342" y="69"/>
                          </a:lnTo>
                          <a:lnTo>
                            <a:pt x="345" y="78"/>
                          </a:lnTo>
                          <a:lnTo>
                            <a:pt x="349" y="85"/>
                          </a:lnTo>
                          <a:lnTo>
                            <a:pt x="354" y="92"/>
                          </a:lnTo>
                          <a:lnTo>
                            <a:pt x="361" y="97"/>
                          </a:lnTo>
                          <a:lnTo>
                            <a:pt x="369" y="101"/>
                          </a:lnTo>
                          <a:lnTo>
                            <a:pt x="377" y="104"/>
                          </a:lnTo>
                          <a:lnTo>
                            <a:pt x="386" y="105"/>
                          </a:lnTo>
                          <a:lnTo>
                            <a:pt x="386" y="105"/>
                          </a:lnTo>
                          <a:close/>
                          <a:moveTo>
                            <a:pt x="82" y="135"/>
                          </a:moveTo>
                          <a:lnTo>
                            <a:pt x="82" y="135"/>
                          </a:lnTo>
                          <a:lnTo>
                            <a:pt x="89" y="134"/>
                          </a:lnTo>
                          <a:lnTo>
                            <a:pt x="96" y="132"/>
                          </a:lnTo>
                          <a:lnTo>
                            <a:pt x="102" y="128"/>
                          </a:lnTo>
                          <a:lnTo>
                            <a:pt x="108" y="124"/>
                          </a:lnTo>
                          <a:lnTo>
                            <a:pt x="113" y="117"/>
                          </a:lnTo>
                          <a:lnTo>
                            <a:pt x="116" y="111"/>
                          </a:lnTo>
                          <a:lnTo>
                            <a:pt x="118" y="104"/>
                          </a:lnTo>
                          <a:lnTo>
                            <a:pt x="119" y="96"/>
                          </a:lnTo>
                          <a:lnTo>
                            <a:pt x="119" y="96"/>
                          </a:lnTo>
                          <a:lnTo>
                            <a:pt x="118" y="89"/>
                          </a:lnTo>
                          <a:lnTo>
                            <a:pt x="116" y="82"/>
                          </a:lnTo>
                          <a:lnTo>
                            <a:pt x="113" y="75"/>
                          </a:lnTo>
                          <a:lnTo>
                            <a:pt x="108" y="70"/>
                          </a:lnTo>
                          <a:lnTo>
                            <a:pt x="102" y="65"/>
                          </a:lnTo>
                          <a:lnTo>
                            <a:pt x="96" y="62"/>
                          </a:lnTo>
                          <a:lnTo>
                            <a:pt x="89" y="59"/>
                          </a:lnTo>
                          <a:lnTo>
                            <a:pt x="82" y="58"/>
                          </a:lnTo>
                          <a:lnTo>
                            <a:pt x="82" y="58"/>
                          </a:lnTo>
                          <a:lnTo>
                            <a:pt x="73" y="59"/>
                          </a:lnTo>
                          <a:lnTo>
                            <a:pt x="66" y="62"/>
                          </a:lnTo>
                          <a:lnTo>
                            <a:pt x="60" y="65"/>
                          </a:lnTo>
                          <a:lnTo>
                            <a:pt x="54" y="70"/>
                          </a:lnTo>
                          <a:lnTo>
                            <a:pt x="50" y="75"/>
                          </a:lnTo>
                          <a:lnTo>
                            <a:pt x="46" y="82"/>
                          </a:lnTo>
                          <a:lnTo>
                            <a:pt x="44" y="89"/>
                          </a:lnTo>
                          <a:lnTo>
                            <a:pt x="43" y="96"/>
                          </a:lnTo>
                          <a:lnTo>
                            <a:pt x="43" y="96"/>
                          </a:lnTo>
                          <a:lnTo>
                            <a:pt x="44" y="104"/>
                          </a:lnTo>
                          <a:lnTo>
                            <a:pt x="46" y="111"/>
                          </a:lnTo>
                          <a:lnTo>
                            <a:pt x="50" y="117"/>
                          </a:lnTo>
                          <a:lnTo>
                            <a:pt x="54" y="124"/>
                          </a:lnTo>
                          <a:lnTo>
                            <a:pt x="60" y="128"/>
                          </a:lnTo>
                          <a:lnTo>
                            <a:pt x="66" y="132"/>
                          </a:lnTo>
                          <a:lnTo>
                            <a:pt x="73" y="134"/>
                          </a:lnTo>
                          <a:lnTo>
                            <a:pt x="82" y="135"/>
                          </a:lnTo>
                          <a:lnTo>
                            <a:pt x="82" y="135"/>
                          </a:lnTo>
                          <a:close/>
                          <a:moveTo>
                            <a:pt x="534" y="124"/>
                          </a:moveTo>
                          <a:lnTo>
                            <a:pt x="534" y="124"/>
                          </a:lnTo>
                          <a:lnTo>
                            <a:pt x="541" y="122"/>
                          </a:lnTo>
                          <a:lnTo>
                            <a:pt x="548" y="120"/>
                          </a:lnTo>
                          <a:lnTo>
                            <a:pt x="555" y="117"/>
                          </a:lnTo>
                          <a:lnTo>
                            <a:pt x="560" y="112"/>
                          </a:lnTo>
                          <a:lnTo>
                            <a:pt x="565" y="106"/>
                          </a:lnTo>
                          <a:lnTo>
                            <a:pt x="568" y="100"/>
                          </a:lnTo>
                          <a:lnTo>
                            <a:pt x="570" y="93"/>
                          </a:lnTo>
                          <a:lnTo>
                            <a:pt x="571" y="86"/>
                          </a:lnTo>
                          <a:lnTo>
                            <a:pt x="571" y="86"/>
                          </a:lnTo>
                          <a:lnTo>
                            <a:pt x="570" y="78"/>
                          </a:lnTo>
                          <a:lnTo>
                            <a:pt x="568" y="71"/>
                          </a:lnTo>
                          <a:lnTo>
                            <a:pt x="565" y="65"/>
                          </a:lnTo>
                          <a:lnTo>
                            <a:pt x="560" y="58"/>
                          </a:lnTo>
                          <a:lnTo>
                            <a:pt x="555" y="54"/>
                          </a:lnTo>
                          <a:lnTo>
                            <a:pt x="548" y="50"/>
                          </a:lnTo>
                          <a:lnTo>
                            <a:pt x="541" y="48"/>
                          </a:lnTo>
                          <a:lnTo>
                            <a:pt x="534" y="47"/>
                          </a:lnTo>
                          <a:lnTo>
                            <a:pt x="534" y="47"/>
                          </a:lnTo>
                          <a:lnTo>
                            <a:pt x="526" y="48"/>
                          </a:lnTo>
                          <a:lnTo>
                            <a:pt x="519" y="50"/>
                          </a:lnTo>
                          <a:lnTo>
                            <a:pt x="513" y="54"/>
                          </a:lnTo>
                          <a:lnTo>
                            <a:pt x="506" y="58"/>
                          </a:lnTo>
                          <a:lnTo>
                            <a:pt x="502" y="65"/>
                          </a:lnTo>
                          <a:lnTo>
                            <a:pt x="498" y="71"/>
                          </a:lnTo>
                          <a:lnTo>
                            <a:pt x="496" y="78"/>
                          </a:lnTo>
                          <a:lnTo>
                            <a:pt x="496" y="86"/>
                          </a:lnTo>
                          <a:lnTo>
                            <a:pt x="496" y="86"/>
                          </a:lnTo>
                          <a:lnTo>
                            <a:pt x="496" y="93"/>
                          </a:lnTo>
                          <a:lnTo>
                            <a:pt x="498" y="100"/>
                          </a:lnTo>
                          <a:lnTo>
                            <a:pt x="502" y="106"/>
                          </a:lnTo>
                          <a:lnTo>
                            <a:pt x="506" y="112"/>
                          </a:lnTo>
                          <a:lnTo>
                            <a:pt x="513" y="117"/>
                          </a:lnTo>
                          <a:lnTo>
                            <a:pt x="519" y="120"/>
                          </a:lnTo>
                          <a:lnTo>
                            <a:pt x="526" y="122"/>
                          </a:lnTo>
                          <a:lnTo>
                            <a:pt x="534" y="124"/>
                          </a:lnTo>
                          <a:lnTo>
                            <a:pt x="534" y="124"/>
                          </a:lnTo>
                          <a:close/>
                          <a:moveTo>
                            <a:pt x="576" y="142"/>
                          </a:moveTo>
                          <a:lnTo>
                            <a:pt x="491" y="142"/>
                          </a:lnTo>
                          <a:lnTo>
                            <a:pt x="491" y="142"/>
                          </a:lnTo>
                          <a:lnTo>
                            <a:pt x="483" y="143"/>
                          </a:lnTo>
                          <a:lnTo>
                            <a:pt x="475" y="146"/>
                          </a:lnTo>
                          <a:lnTo>
                            <a:pt x="475" y="146"/>
                          </a:lnTo>
                          <a:lnTo>
                            <a:pt x="471" y="140"/>
                          </a:lnTo>
                          <a:lnTo>
                            <a:pt x="467" y="135"/>
                          </a:lnTo>
                          <a:lnTo>
                            <a:pt x="462" y="132"/>
                          </a:lnTo>
                          <a:lnTo>
                            <a:pt x="457" y="129"/>
                          </a:lnTo>
                          <a:lnTo>
                            <a:pt x="451" y="126"/>
                          </a:lnTo>
                          <a:lnTo>
                            <a:pt x="444" y="125"/>
                          </a:lnTo>
                          <a:lnTo>
                            <a:pt x="438" y="124"/>
                          </a:lnTo>
                          <a:lnTo>
                            <a:pt x="431" y="124"/>
                          </a:lnTo>
                          <a:lnTo>
                            <a:pt x="345" y="124"/>
                          </a:lnTo>
                          <a:lnTo>
                            <a:pt x="345" y="124"/>
                          </a:lnTo>
                          <a:lnTo>
                            <a:pt x="335" y="124"/>
                          </a:lnTo>
                          <a:lnTo>
                            <a:pt x="326" y="126"/>
                          </a:lnTo>
                          <a:lnTo>
                            <a:pt x="320" y="127"/>
                          </a:lnTo>
                          <a:lnTo>
                            <a:pt x="316" y="129"/>
                          </a:lnTo>
                          <a:lnTo>
                            <a:pt x="312" y="132"/>
                          </a:lnTo>
                          <a:lnTo>
                            <a:pt x="309" y="135"/>
                          </a:lnTo>
                          <a:lnTo>
                            <a:pt x="309" y="135"/>
                          </a:lnTo>
                          <a:lnTo>
                            <a:pt x="301" y="128"/>
                          </a:lnTo>
                          <a:lnTo>
                            <a:pt x="293" y="121"/>
                          </a:lnTo>
                          <a:lnTo>
                            <a:pt x="284" y="118"/>
                          </a:lnTo>
                          <a:lnTo>
                            <a:pt x="279" y="117"/>
                          </a:lnTo>
                          <a:lnTo>
                            <a:pt x="273" y="117"/>
                          </a:lnTo>
                          <a:lnTo>
                            <a:pt x="187" y="117"/>
                          </a:lnTo>
                          <a:lnTo>
                            <a:pt x="187" y="117"/>
                          </a:lnTo>
                          <a:lnTo>
                            <a:pt x="179" y="117"/>
                          </a:lnTo>
                          <a:lnTo>
                            <a:pt x="171" y="119"/>
                          </a:lnTo>
                          <a:lnTo>
                            <a:pt x="164" y="124"/>
                          </a:lnTo>
                          <a:lnTo>
                            <a:pt x="158" y="128"/>
                          </a:lnTo>
                          <a:lnTo>
                            <a:pt x="152" y="134"/>
                          </a:lnTo>
                          <a:lnTo>
                            <a:pt x="147" y="141"/>
                          </a:lnTo>
                          <a:lnTo>
                            <a:pt x="143" y="148"/>
                          </a:lnTo>
                          <a:lnTo>
                            <a:pt x="140" y="156"/>
                          </a:lnTo>
                          <a:lnTo>
                            <a:pt x="140" y="156"/>
                          </a:lnTo>
                          <a:lnTo>
                            <a:pt x="134" y="154"/>
                          </a:lnTo>
                          <a:lnTo>
                            <a:pt x="126" y="153"/>
                          </a:lnTo>
                          <a:lnTo>
                            <a:pt x="113" y="152"/>
                          </a:lnTo>
                          <a:lnTo>
                            <a:pt x="42" y="152"/>
                          </a:lnTo>
                          <a:lnTo>
                            <a:pt x="42" y="152"/>
                          </a:lnTo>
                          <a:lnTo>
                            <a:pt x="34" y="153"/>
                          </a:lnTo>
                          <a:lnTo>
                            <a:pt x="26" y="156"/>
                          </a:lnTo>
                          <a:lnTo>
                            <a:pt x="19" y="160"/>
                          </a:lnTo>
                          <a:lnTo>
                            <a:pt x="13" y="166"/>
                          </a:lnTo>
                          <a:lnTo>
                            <a:pt x="7" y="173"/>
                          </a:lnTo>
                          <a:lnTo>
                            <a:pt x="3" y="181"/>
                          </a:lnTo>
                          <a:lnTo>
                            <a:pt x="1" y="191"/>
                          </a:lnTo>
                          <a:lnTo>
                            <a:pt x="0" y="201"/>
                          </a:lnTo>
                          <a:lnTo>
                            <a:pt x="0" y="319"/>
                          </a:lnTo>
                          <a:lnTo>
                            <a:pt x="0" y="319"/>
                          </a:lnTo>
                          <a:lnTo>
                            <a:pt x="0" y="326"/>
                          </a:lnTo>
                          <a:lnTo>
                            <a:pt x="2" y="331"/>
                          </a:lnTo>
                          <a:lnTo>
                            <a:pt x="4" y="334"/>
                          </a:lnTo>
                          <a:lnTo>
                            <a:pt x="7" y="336"/>
                          </a:lnTo>
                          <a:lnTo>
                            <a:pt x="10" y="337"/>
                          </a:lnTo>
                          <a:lnTo>
                            <a:pt x="15" y="337"/>
                          </a:lnTo>
                          <a:lnTo>
                            <a:pt x="15" y="337"/>
                          </a:lnTo>
                          <a:lnTo>
                            <a:pt x="19" y="337"/>
                          </a:lnTo>
                          <a:lnTo>
                            <a:pt x="22" y="336"/>
                          </a:lnTo>
                          <a:lnTo>
                            <a:pt x="24" y="334"/>
                          </a:lnTo>
                          <a:lnTo>
                            <a:pt x="26" y="331"/>
                          </a:lnTo>
                          <a:lnTo>
                            <a:pt x="28" y="325"/>
                          </a:lnTo>
                          <a:lnTo>
                            <a:pt x="28" y="319"/>
                          </a:lnTo>
                          <a:lnTo>
                            <a:pt x="28" y="319"/>
                          </a:lnTo>
                          <a:lnTo>
                            <a:pt x="29" y="193"/>
                          </a:lnTo>
                          <a:lnTo>
                            <a:pt x="46" y="193"/>
                          </a:lnTo>
                          <a:lnTo>
                            <a:pt x="46" y="193"/>
                          </a:lnTo>
                          <a:lnTo>
                            <a:pt x="45" y="498"/>
                          </a:lnTo>
                          <a:lnTo>
                            <a:pt x="45" y="498"/>
                          </a:lnTo>
                          <a:lnTo>
                            <a:pt x="46" y="509"/>
                          </a:lnTo>
                          <a:lnTo>
                            <a:pt x="48" y="517"/>
                          </a:lnTo>
                          <a:lnTo>
                            <a:pt x="52" y="522"/>
                          </a:lnTo>
                          <a:lnTo>
                            <a:pt x="56" y="526"/>
                          </a:lnTo>
                          <a:lnTo>
                            <a:pt x="60" y="528"/>
                          </a:lnTo>
                          <a:lnTo>
                            <a:pt x="65" y="530"/>
                          </a:lnTo>
                          <a:lnTo>
                            <a:pt x="75" y="530"/>
                          </a:lnTo>
                          <a:lnTo>
                            <a:pt x="93" y="530"/>
                          </a:lnTo>
                          <a:lnTo>
                            <a:pt x="93" y="530"/>
                          </a:lnTo>
                          <a:lnTo>
                            <a:pt x="97" y="530"/>
                          </a:lnTo>
                          <a:lnTo>
                            <a:pt x="101" y="530"/>
                          </a:lnTo>
                          <a:lnTo>
                            <a:pt x="105" y="528"/>
                          </a:lnTo>
                          <a:lnTo>
                            <a:pt x="109" y="525"/>
                          </a:lnTo>
                          <a:lnTo>
                            <a:pt x="113" y="521"/>
                          </a:lnTo>
                          <a:lnTo>
                            <a:pt x="116" y="515"/>
                          </a:lnTo>
                          <a:lnTo>
                            <a:pt x="118" y="506"/>
                          </a:lnTo>
                          <a:lnTo>
                            <a:pt x="119" y="493"/>
                          </a:lnTo>
                          <a:lnTo>
                            <a:pt x="119" y="493"/>
                          </a:lnTo>
                          <a:lnTo>
                            <a:pt x="120" y="337"/>
                          </a:lnTo>
                          <a:lnTo>
                            <a:pt x="120" y="193"/>
                          </a:lnTo>
                          <a:lnTo>
                            <a:pt x="138" y="193"/>
                          </a:lnTo>
                          <a:lnTo>
                            <a:pt x="138" y="322"/>
                          </a:lnTo>
                          <a:lnTo>
                            <a:pt x="138" y="322"/>
                          </a:lnTo>
                          <a:lnTo>
                            <a:pt x="139" y="330"/>
                          </a:lnTo>
                          <a:lnTo>
                            <a:pt x="140" y="333"/>
                          </a:lnTo>
                          <a:lnTo>
                            <a:pt x="141" y="335"/>
                          </a:lnTo>
                          <a:lnTo>
                            <a:pt x="143" y="336"/>
                          </a:lnTo>
                          <a:lnTo>
                            <a:pt x="146" y="337"/>
                          </a:lnTo>
                          <a:lnTo>
                            <a:pt x="151" y="337"/>
                          </a:lnTo>
                          <a:lnTo>
                            <a:pt x="151" y="337"/>
                          </a:lnTo>
                          <a:lnTo>
                            <a:pt x="155" y="337"/>
                          </a:lnTo>
                          <a:lnTo>
                            <a:pt x="157" y="336"/>
                          </a:lnTo>
                          <a:lnTo>
                            <a:pt x="160" y="335"/>
                          </a:lnTo>
                          <a:lnTo>
                            <a:pt x="162" y="333"/>
                          </a:lnTo>
                          <a:lnTo>
                            <a:pt x="164" y="328"/>
                          </a:lnTo>
                          <a:lnTo>
                            <a:pt x="165" y="321"/>
                          </a:lnTo>
                          <a:lnTo>
                            <a:pt x="165" y="321"/>
                          </a:lnTo>
                          <a:lnTo>
                            <a:pt x="164" y="171"/>
                          </a:lnTo>
                          <a:lnTo>
                            <a:pt x="181" y="171"/>
                          </a:lnTo>
                          <a:lnTo>
                            <a:pt x="181" y="171"/>
                          </a:lnTo>
                          <a:lnTo>
                            <a:pt x="181" y="528"/>
                          </a:lnTo>
                          <a:lnTo>
                            <a:pt x="181" y="528"/>
                          </a:lnTo>
                          <a:lnTo>
                            <a:pt x="182" y="541"/>
                          </a:lnTo>
                          <a:lnTo>
                            <a:pt x="185" y="551"/>
                          </a:lnTo>
                          <a:lnTo>
                            <a:pt x="189" y="558"/>
                          </a:lnTo>
                          <a:lnTo>
                            <a:pt x="193" y="565"/>
                          </a:lnTo>
                          <a:lnTo>
                            <a:pt x="198" y="569"/>
                          </a:lnTo>
                          <a:lnTo>
                            <a:pt x="205" y="571"/>
                          </a:lnTo>
                          <a:lnTo>
                            <a:pt x="210" y="573"/>
                          </a:lnTo>
                          <a:lnTo>
                            <a:pt x="215" y="573"/>
                          </a:lnTo>
                          <a:lnTo>
                            <a:pt x="248" y="573"/>
                          </a:lnTo>
                          <a:lnTo>
                            <a:pt x="248" y="573"/>
                          </a:lnTo>
                          <a:lnTo>
                            <a:pt x="252" y="573"/>
                          </a:lnTo>
                          <a:lnTo>
                            <a:pt x="257" y="571"/>
                          </a:lnTo>
                          <a:lnTo>
                            <a:pt x="263" y="568"/>
                          </a:lnTo>
                          <a:lnTo>
                            <a:pt x="268" y="563"/>
                          </a:lnTo>
                          <a:lnTo>
                            <a:pt x="272" y="557"/>
                          </a:lnTo>
                          <a:lnTo>
                            <a:pt x="275" y="548"/>
                          </a:lnTo>
                          <a:lnTo>
                            <a:pt x="278" y="537"/>
                          </a:lnTo>
                          <a:lnTo>
                            <a:pt x="279" y="523"/>
                          </a:lnTo>
                          <a:lnTo>
                            <a:pt x="279" y="523"/>
                          </a:lnTo>
                          <a:lnTo>
                            <a:pt x="279" y="340"/>
                          </a:lnTo>
                          <a:lnTo>
                            <a:pt x="278" y="171"/>
                          </a:lnTo>
                          <a:lnTo>
                            <a:pt x="295" y="171"/>
                          </a:lnTo>
                          <a:lnTo>
                            <a:pt x="295" y="171"/>
                          </a:lnTo>
                          <a:lnTo>
                            <a:pt x="295" y="317"/>
                          </a:lnTo>
                          <a:lnTo>
                            <a:pt x="295" y="317"/>
                          </a:lnTo>
                          <a:lnTo>
                            <a:pt x="296" y="326"/>
                          </a:lnTo>
                          <a:lnTo>
                            <a:pt x="296" y="330"/>
                          </a:lnTo>
                          <a:lnTo>
                            <a:pt x="298" y="333"/>
                          </a:lnTo>
                          <a:lnTo>
                            <a:pt x="299" y="335"/>
                          </a:lnTo>
                          <a:lnTo>
                            <a:pt x="302" y="336"/>
                          </a:lnTo>
                          <a:lnTo>
                            <a:pt x="305" y="337"/>
                          </a:lnTo>
                          <a:lnTo>
                            <a:pt x="309" y="337"/>
                          </a:lnTo>
                          <a:lnTo>
                            <a:pt x="309" y="337"/>
                          </a:lnTo>
                          <a:lnTo>
                            <a:pt x="312" y="337"/>
                          </a:lnTo>
                          <a:lnTo>
                            <a:pt x="314" y="336"/>
                          </a:lnTo>
                          <a:lnTo>
                            <a:pt x="316" y="334"/>
                          </a:lnTo>
                          <a:lnTo>
                            <a:pt x="318" y="332"/>
                          </a:lnTo>
                          <a:lnTo>
                            <a:pt x="319" y="326"/>
                          </a:lnTo>
                          <a:lnTo>
                            <a:pt x="320" y="318"/>
                          </a:lnTo>
                          <a:lnTo>
                            <a:pt x="320" y="318"/>
                          </a:lnTo>
                          <a:lnTo>
                            <a:pt x="320" y="178"/>
                          </a:lnTo>
                          <a:lnTo>
                            <a:pt x="337" y="178"/>
                          </a:lnTo>
                          <a:lnTo>
                            <a:pt x="337" y="178"/>
                          </a:lnTo>
                          <a:lnTo>
                            <a:pt x="338" y="524"/>
                          </a:lnTo>
                          <a:lnTo>
                            <a:pt x="338" y="524"/>
                          </a:lnTo>
                          <a:lnTo>
                            <a:pt x="340" y="537"/>
                          </a:lnTo>
                          <a:lnTo>
                            <a:pt x="342" y="547"/>
                          </a:lnTo>
                          <a:lnTo>
                            <a:pt x="346" y="554"/>
                          </a:lnTo>
                          <a:lnTo>
                            <a:pt x="351" y="560"/>
                          </a:lnTo>
                          <a:lnTo>
                            <a:pt x="357" y="565"/>
                          </a:lnTo>
                          <a:lnTo>
                            <a:pt x="362" y="567"/>
                          </a:lnTo>
                          <a:lnTo>
                            <a:pt x="368" y="569"/>
                          </a:lnTo>
                          <a:lnTo>
                            <a:pt x="373" y="569"/>
                          </a:lnTo>
                          <a:lnTo>
                            <a:pt x="406" y="569"/>
                          </a:lnTo>
                          <a:lnTo>
                            <a:pt x="406" y="569"/>
                          </a:lnTo>
                          <a:lnTo>
                            <a:pt x="411" y="569"/>
                          </a:lnTo>
                          <a:lnTo>
                            <a:pt x="416" y="567"/>
                          </a:lnTo>
                          <a:lnTo>
                            <a:pt x="421" y="563"/>
                          </a:lnTo>
                          <a:lnTo>
                            <a:pt x="426" y="559"/>
                          </a:lnTo>
                          <a:lnTo>
                            <a:pt x="430" y="553"/>
                          </a:lnTo>
                          <a:lnTo>
                            <a:pt x="433" y="544"/>
                          </a:lnTo>
                          <a:lnTo>
                            <a:pt x="436" y="533"/>
                          </a:lnTo>
                          <a:lnTo>
                            <a:pt x="437" y="519"/>
                          </a:lnTo>
                          <a:lnTo>
                            <a:pt x="437" y="519"/>
                          </a:lnTo>
                          <a:lnTo>
                            <a:pt x="438" y="457"/>
                          </a:lnTo>
                          <a:lnTo>
                            <a:pt x="438" y="341"/>
                          </a:lnTo>
                          <a:lnTo>
                            <a:pt x="437" y="178"/>
                          </a:lnTo>
                          <a:lnTo>
                            <a:pt x="455" y="178"/>
                          </a:lnTo>
                          <a:lnTo>
                            <a:pt x="455" y="178"/>
                          </a:lnTo>
                          <a:lnTo>
                            <a:pt x="455" y="318"/>
                          </a:lnTo>
                          <a:lnTo>
                            <a:pt x="455" y="318"/>
                          </a:lnTo>
                          <a:lnTo>
                            <a:pt x="456" y="325"/>
                          </a:lnTo>
                          <a:lnTo>
                            <a:pt x="458" y="332"/>
                          </a:lnTo>
                          <a:lnTo>
                            <a:pt x="459" y="334"/>
                          </a:lnTo>
                          <a:lnTo>
                            <a:pt x="461" y="336"/>
                          </a:lnTo>
                          <a:lnTo>
                            <a:pt x="464" y="337"/>
                          </a:lnTo>
                          <a:lnTo>
                            <a:pt x="467" y="337"/>
                          </a:lnTo>
                          <a:lnTo>
                            <a:pt x="467" y="337"/>
                          </a:lnTo>
                          <a:lnTo>
                            <a:pt x="473" y="337"/>
                          </a:lnTo>
                          <a:lnTo>
                            <a:pt x="476" y="336"/>
                          </a:lnTo>
                          <a:lnTo>
                            <a:pt x="478" y="334"/>
                          </a:lnTo>
                          <a:lnTo>
                            <a:pt x="480" y="330"/>
                          </a:lnTo>
                          <a:lnTo>
                            <a:pt x="481" y="324"/>
                          </a:lnTo>
                          <a:lnTo>
                            <a:pt x="481" y="324"/>
                          </a:lnTo>
                          <a:lnTo>
                            <a:pt x="482" y="264"/>
                          </a:lnTo>
                          <a:lnTo>
                            <a:pt x="482" y="193"/>
                          </a:lnTo>
                          <a:lnTo>
                            <a:pt x="499" y="193"/>
                          </a:lnTo>
                          <a:lnTo>
                            <a:pt x="499" y="193"/>
                          </a:lnTo>
                          <a:lnTo>
                            <a:pt x="499" y="483"/>
                          </a:lnTo>
                          <a:lnTo>
                            <a:pt x="499" y="483"/>
                          </a:lnTo>
                          <a:lnTo>
                            <a:pt x="499" y="493"/>
                          </a:lnTo>
                          <a:lnTo>
                            <a:pt x="501" y="502"/>
                          </a:lnTo>
                          <a:lnTo>
                            <a:pt x="503" y="509"/>
                          </a:lnTo>
                          <a:lnTo>
                            <a:pt x="505" y="513"/>
                          </a:lnTo>
                          <a:lnTo>
                            <a:pt x="508" y="517"/>
                          </a:lnTo>
                          <a:lnTo>
                            <a:pt x="513" y="519"/>
                          </a:lnTo>
                          <a:lnTo>
                            <a:pt x="516" y="520"/>
                          </a:lnTo>
                          <a:lnTo>
                            <a:pt x="520" y="520"/>
                          </a:lnTo>
                          <a:lnTo>
                            <a:pt x="551" y="520"/>
                          </a:lnTo>
                          <a:lnTo>
                            <a:pt x="551" y="520"/>
                          </a:lnTo>
                          <a:lnTo>
                            <a:pt x="555" y="520"/>
                          </a:lnTo>
                          <a:lnTo>
                            <a:pt x="559" y="519"/>
                          </a:lnTo>
                          <a:lnTo>
                            <a:pt x="562" y="516"/>
                          </a:lnTo>
                          <a:lnTo>
                            <a:pt x="565" y="513"/>
                          </a:lnTo>
                          <a:lnTo>
                            <a:pt x="568" y="507"/>
                          </a:lnTo>
                          <a:lnTo>
                            <a:pt x="571" y="499"/>
                          </a:lnTo>
                          <a:lnTo>
                            <a:pt x="572" y="490"/>
                          </a:lnTo>
                          <a:lnTo>
                            <a:pt x="573" y="478"/>
                          </a:lnTo>
                          <a:lnTo>
                            <a:pt x="573" y="478"/>
                          </a:lnTo>
                          <a:lnTo>
                            <a:pt x="573" y="329"/>
                          </a:lnTo>
                          <a:lnTo>
                            <a:pt x="573" y="193"/>
                          </a:lnTo>
                          <a:lnTo>
                            <a:pt x="591" y="193"/>
                          </a:lnTo>
                          <a:lnTo>
                            <a:pt x="591" y="193"/>
                          </a:lnTo>
                          <a:lnTo>
                            <a:pt x="591" y="322"/>
                          </a:lnTo>
                          <a:lnTo>
                            <a:pt x="591" y="322"/>
                          </a:lnTo>
                          <a:lnTo>
                            <a:pt x="592" y="328"/>
                          </a:lnTo>
                          <a:lnTo>
                            <a:pt x="595" y="333"/>
                          </a:lnTo>
                          <a:lnTo>
                            <a:pt x="599" y="336"/>
                          </a:lnTo>
                          <a:lnTo>
                            <a:pt x="604" y="337"/>
                          </a:lnTo>
                          <a:lnTo>
                            <a:pt x="604" y="337"/>
                          </a:lnTo>
                          <a:lnTo>
                            <a:pt x="610" y="336"/>
                          </a:lnTo>
                          <a:lnTo>
                            <a:pt x="614" y="333"/>
                          </a:lnTo>
                          <a:lnTo>
                            <a:pt x="616" y="329"/>
                          </a:lnTo>
                          <a:lnTo>
                            <a:pt x="617" y="323"/>
                          </a:lnTo>
                          <a:lnTo>
                            <a:pt x="617" y="197"/>
                          </a:lnTo>
                          <a:lnTo>
                            <a:pt x="617" y="197"/>
                          </a:lnTo>
                          <a:lnTo>
                            <a:pt x="616" y="187"/>
                          </a:lnTo>
                          <a:lnTo>
                            <a:pt x="614" y="176"/>
                          </a:lnTo>
                          <a:lnTo>
                            <a:pt x="610" y="167"/>
                          </a:lnTo>
                          <a:lnTo>
                            <a:pt x="605" y="159"/>
                          </a:lnTo>
                          <a:lnTo>
                            <a:pt x="599" y="152"/>
                          </a:lnTo>
                          <a:lnTo>
                            <a:pt x="592" y="147"/>
                          </a:lnTo>
                          <a:lnTo>
                            <a:pt x="584" y="143"/>
                          </a:lnTo>
                          <a:lnTo>
                            <a:pt x="580" y="142"/>
                          </a:lnTo>
                          <a:lnTo>
                            <a:pt x="576" y="142"/>
                          </a:lnTo>
                          <a:lnTo>
                            <a:pt x="576" y="142"/>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54" name="TextBox 16">
                      <a:extLst>
                        <a:ext uri="{FF2B5EF4-FFF2-40B4-BE49-F238E27FC236}">
                          <a16:creationId xmlns:a16="http://schemas.microsoft.com/office/drawing/2014/main" id="{72252CEC-4886-40B4-8F3C-FAB62F25FABB}"/>
                        </a:ext>
                      </a:extLst>
                    </p:cNvPr>
                    <p:cNvSpPr txBox="1"/>
                    <p:nvPr/>
                  </p:nvSpPr>
                  <p:spPr>
                    <a:xfrm>
                      <a:off x="11842031" y="5810453"/>
                      <a:ext cx="1419960" cy="4615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ội</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gũ</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ứ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hó</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55" name="Freeform 97">
                      <a:extLst>
                        <a:ext uri="{FF2B5EF4-FFF2-40B4-BE49-F238E27FC236}">
                          <a16:creationId xmlns:a16="http://schemas.microsoft.com/office/drawing/2014/main" id="{6811E0A7-2F05-4B3B-B04F-E15044A52170}"/>
                        </a:ext>
                      </a:extLst>
                    </p:cNvPr>
                    <p:cNvSpPr>
                      <a:spLocks noChangeAspect="1" noEditPoints="1"/>
                    </p:cNvSpPr>
                    <p:nvPr/>
                  </p:nvSpPr>
                  <p:spPr bwMode="auto">
                    <a:xfrm>
                      <a:off x="13081432" y="6807110"/>
                      <a:ext cx="335025" cy="295275"/>
                    </a:xfrm>
                    <a:custGeom>
                      <a:avLst/>
                      <a:gdLst>
                        <a:gd name="T0" fmla="*/ 46 w 976"/>
                        <a:gd name="T1" fmla="*/ 246 h 782"/>
                        <a:gd name="T2" fmla="*/ 30 w 976"/>
                        <a:gd name="T3" fmla="*/ 246 h 782"/>
                        <a:gd name="T4" fmla="*/ 10 w 976"/>
                        <a:gd name="T5" fmla="*/ 254 h 782"/>
                        <a:gd name="T6" fmla="*/ 2 w 976"/>
                        <a:gd name="T7" fmla="*/ 266 h 782"/>
                        <a:gd name="T8" fmla="*/ 0 w 976"/>
                        <a:gd name="T9" fmla="*/ 294 h 782"/>
                        <a:gd name="T10" fmla="*/ 40 w 976"/>
                        <a:gd name="T11" fmla="*/ 734 h 782"/>
                        <a:gd name="T12" fmla="*/ 48 w 976"/>
                        <a:gd name="T13" fmla="*/ 760 h 782"/>
                        <a:gd name="T14" fmla="*/ 58 w 976"/>
                        <a:gd name="T15" fmla="*/ 774 h 782"/>
                        <a:gd name="T16" fmla="*/ 80 w 976"/>
                        <a:gd name="T17" fmla="*/ 780 h 782"/>
                        <a:gd name="T18" fmla="*/ 882 w 976"/>
                        <a:gd name="T19" fmla="*/ 782 h 782"/>
                        <a:gd name="T20" fmla="*/ 896 w 976"/>
                        <a:gd name="T21" fmla="*/ 780 h 782"/>
                        <a:gd name="T22" fmla="*/ 918 w 976"/>
                        <a:gd name="T23" fmla="*/ 774 h 782"/>
                        <a:gd name="T24" fmla="*/ 930 w 976"/>
                        <a:gd name="T25" fmla="*/ 760 h 782"/>
                        <a:gd name="T26" fmla="*/ 936 w 976"/>
                        <a:gd name="T27" fmla="*/ 734 h 782"/>
                        <a:gd name="T28" fmla="*/ 976 w 976"/>
                        <a:gd name="T29" fmla="*/ 294 h 782"/>
                        <a:gd name="T30" fmla="*/ 974 w 976"/>
                        <a:gd name="T31" fmla="*/ 266 h 782"/>
                        <a:gd name="T32" fmla="*/ 966 w 976"/>
                        <a:gd name="T33" fmla="*/ 254 h 782"/>
                        <a:gd name="T34" fmla="*/ 946 w 976"/>
                        <a:gd name="T35" fmla="*/ 246 h 782"/>
                        <a:gd name="T36" fmla="*/ 930 w 976"/>
                        <a:gd name="T37" fmla="*/ 246 h 782"/>
                        <a:gd name="T38" fmla="*/ 898 w 976"/>
                        <a:gd name="T39" fmla="*/ 138 h 782"/>
                        <a:gd name="T40" fmla="*/ 890 w 976"/>
                        <a:gd name="T41" fmla="*/ 122 h 782"/>
                        <a:gd name="T42" fmla="*/ 876 w 976"/>
                        <a:gd name="T43" fmla="*/ 110 h 782"/>
                        <a:gd name="T44" fmla="*/ 860 w 976"/>
                        <a:gd name="T45" fmla="*/ 102 h 782"/>
                        <a:gd name="T46" fmla="*/ 840 w 976"/>
                        <a:gd name="T47" fmla="*/ 98 h 782"/>
                        <a:gd name="T48" fmla="*/ 506 w 976"/>
                        <a:gd name="T49" fmla="*/ 98 h 782"/>
                        <a:gd name="T50" fmla="*/ 484 w 976"/>
                        <a:gd name="T51" fmla="*/ 96 h 782"/>
                        <a:gd name="T52" fmla="*/ 440 w 976"/>
                        <a:gd name="T53" fmla="*/ 78 h 782"/>
                        <a:gd name="T54" fmla="*/ 422 w 976"/>
                        <a:gd name="T55" fmla="*/ 64 h 782"/>
                        <a:gd name="T56" fmla="*/ 394 w 976"/>
                        <a:gd name="T57" fmla="*/ 36 h 782"/>
                        <a:gd name="T58" fmla="*/ 376 w 976"/>
                        <a:gd name="T59" fmla="*/ 22 h 782"/>
                        <a:gd name="T60" fmla="*/ 332 w 976"/>
                        <a:gd name="T61" fmla="*/ 4 h 782"/>
                        <a:gd name="T62" fmla="*/ 310 w 976"/>
                        <a:gd name="T63" fmla="*/ 0 h 782"/>
                        <a:gd name="T64" fmla="*/ 150 w 976"/>
                        <a:gd name="T65" fmla="*/ 0 h 782"/>
                        <a:gd name="T66" fmla="*/ 132 w 976"/>
                        <a:gd name="T67" fmla="*/ 4 h 782"/>
                        <a:gd name="T68" fmla="*/ 114 w 976"/>
                        <a:gd name="T69" fmla="*/ 16 h 782"/>
                        <a:gd name="T70" fmla="*/ 102 w 976"/>
                        <a:gd name="T71" fmla="*/ 30 h 782"/>
                        <a:gd name="T72" fmla="*/ 96 w 976"/>
                        <a:gd name="T73" fmla="*/ 50 h 782"/>
                        <a:gd name="T74" fmla="*/ 908 w 976"/>
                        <a:gd name="T75" fmla="*/ 176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6" h="782">
                          <a:moveTo>
                            <a:pt x="930" y="246"/>
                          </a:moveTo>
                          <a:lnTo>
                            <a:pt x="46" y="246"/>
                          </a:lnTo>
                          <a:lnTo>
                            <a:pt x="46" y="246"/>
                          </a:lnTo>
                          <a:lnTo>
                            <a:pt x="30" y="246"/>
                          </a:lnTo>
                          <a:lnTo>
                            <a:pt x="20" y="248"/>
                          </a:lnTo>
                          <a:lnTo>
                            <a:pt x="10" y="254"/>
                          </a:lnTo>
                          <a:lnTo>
                            <a:pt x="6" y="260"/>
                          </a:lnTo>
                          <a:lnTo>
                            <a:pt x="2" y="266"/>
                          </a:lnTo>
                          <a:lnTo>
                            <a:pt x="0" y="274"/>
                          </a:lnTo>
                          <a:lnTo>
                            <a:pt x="0" y="294"/>
                          </a:lnTo>
                          <a:lnTo>
                            <a:pt x="40" y="734"/>
                          </a:lnTo>
                          <a:lnTo>
                            <a:pt x="40" y="734"/>
                          </a:lnTo>
                          <a:lnTo>
                            <a:pt x="44" y="752"/>
                          </a:lnTo>
                          <a:lnTo>
                            <a:pt x="48" y="760"/>
                          </a:lnTo>
                          <a:lnTo>
                            <a:pt x="52" y="768"/>
                          </a:lnTo>
                          <a:lnTo>
                            <a:pt x="58" y="774"/>
                          </a:lnTo>
                          <a:lnTo>
                            <a:pt x="68" y="778"/>
                          </a:lnTo>
                          <a:lnTo>
                            <a:pt x="80" y="780"/>
                          </a:lnTo>
                          <a:lnTo>
                            <a:pt x="94" y="782"/>
                          </a:lnTo>
                          <a:lnTo>
                            <a:pt x="882" y="782"/>
                          </a:lnTo>
                          <a:lnTo>
                            <a:pt x="882" y="782"/>
                          </a:lnTo>
                          <a:lnTo>
                            <a:pt x="896" y="780"/>
                          </a:lnTo>
                          <a:lnTo>
                            <a:pt x="908" y="778"/>
                          </a:lnTo>
                          <a:lnTo>
                            <a:pt x="918" y="774"/>
                          </a:lnTo>
                          <a:lnTo>
                            <a:pt x="924" y="768"/>
                          </a:lnTo>
                          <a:lnTo>
                            <a:pt x="930" y="760"/>
                          </a:lnTo>
                          <a:lnTo>
                            <a:pt x="932" y="752"/>
                          </a:lnTo>
                          <a:lnTo>
                            <a:pt x="936" y="734"/>
                          </a:lnTo>
                          <a:lnTo>
                            <a:pt x="976" y="294"/>
                          </a:lnTo>
                          <a:lnTo>
                            <a:pt x="976" y="294"/>
                          </a:lnTo>
                          <a:lnTo>
                            <a:pt x="976" y="274"/>
                          </a:lnTo>
                          <a:lnTo>
                            <a:pt x="974" y="266"/>
                          </a:lnTo>
                          <a:lnTo>
                            <a:pt x="970" y="260"/>
                          </a:lnTo>
                          <a:lnTo>
                            <a:pt x="966" y="254"/>
                          </a:lnTo>
                          <a:lnTo>
                            <a:pt x="956" y="248"/>
                          </a:lnTo>
                          <a:lnTo>
                            <a:pt x="946" y="246"/>
                          </a:lnTo>
                          <a:lnTo>
                            <a:pt x="930" y="246"/>
                          </a:lnTo>
                          <a:lnTo>
                            <a:pt x="930" y="246"/>
                          </a:lnTo>
                          <a:close/>
                          <a:moveTo>
                            <a:pt x="898" y="138"/>
                          </a:moveTo>
                          <a:lnTo>
                            <a:pt x="898" y="138"/>
                          </a:lnTo>
                          <a:lnTo>
                            <a:pt x="896" y="130"/>
                          </a:lnTo>
                          <a:lnTo>
                            <a:pt x="890" y="122"/>
                          </a:lnTo>
                          <a:lnTo>
                            <a:pt x="884" y="116"/>
                          </a:lnTo>
                          <a:lnTo>
                            <a:pt x="876" y="110"/>
                          </a:lnTo>
                          <a:lnTo>
                            <a:pt x="868" y="106"/>
                          </a:lnTo>
                          <a:lnTo>
                            <a:pt x="860" y="102"/>
                          </a:lnTo>
                          <a:lnTo>
                            <a:pt x="850" y="100"/>
                          </a:lnTo>
                          <a:lnTo>
                            <a:pt x="840" y="98"/>
                          </a:lnTo>
                          <a:lnTo>
                            <a:pt x="506" y="98"/>
                          </a:lnTo>
                          <a:lnTo>
                            <a:pt x="506" y="98"/>
                          </a:lnTo>
                          <a:lnTo>
                            <a:pt x="496" y="98"/>
                          </a:lnTo>
                          <a:lnTo>
                            <a:pt x="484" y="96"/>
                          </a:lnTo>
                          <a:lnTo>
                            <a:pt x="462" y="88"/>
                          </a:lnTo>
                          <a:lnTo>
                            <a:pt x="440" y="78"/>
                          </a:lnTo>
                          <a:lnTo>
                            <a:pt x="430" y="72"/>
                          </a:lnTo>
                          <a:lnTo>
                            <a:pt x="422" y="64"/>
                          </a:lnTo>
                          <a:lnTo>
                            <a:pt x="394" y="36"/>
                          </a:lnTo>
                          <a:lnTo>
                            <a:pt x="394" y="36"/>
                          </a:lnTo>
                          <a:lnTo>
                            <a:pt x="386" y="28"/>
                          </a:lnTo>
                          <a:lnTo>
                            <a:pt x="376" y="22"/>
                          </a:lnTo>
                          <a:lnTo>
                            <a:pt x="354" y="12"/>
                          </a:lnTo>
                          <a:lnTo>
                            <a:pt x="332" y="4"/>
                          </a:lnTo>
                          <a:lnTo>
                            <a:pt x="320" y="2"/>
                          </a:lnTo>
                          <a:lnTo>
                            <a:pt x="310" y="0"/>
                          </a:lnTo>
                          <a:lnTo>
                            <a:pt x="150" y="0"/>
                          </a:lnTo>
                          <a:lnTo>
                            <a:pt x="150" y="0"/>
                          </a:lnTo>
                          <a:lnTo>
                            <a:pt x="140" y="2"/>
                          </a:lnTo>
                          <a:lnTo>
                            <a:pt x="132" y="4"/>
                          </a:lnTo>
                          <a:lnTo>
                            <a:pt x="122" y="10"/>
                          </a:lnTo>
                          <a:lnTo>
                            <a:pt x="114" y="16"/>
                          </a:lnTo>
                          <a:lnTo>
                            <a:pt x="108" y="22"/>
                          </a:lnTo>
                          <a:lnTo>
                            <a:pt x="102" y="30"/>
                          </a:lnTo>
                          <a:lnTo>
                            <a:pt x="98" y="40"/>
                          </a:lnTo>
                          <a:lnTo>
                            <a:pt x="96" y="50"/>
                          </a:lnTo>
                          <a:lnTo>
                            <a:pt x="82" y="176"/>
                          </a:lnTo>
                          <a:lnTo>
                            <a:pt x="908" y="176"/>
                          </a:lnTo>
                          <a:lnTo>
                            <a:pt x="898" y="13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0" name="TextBox 18">
                      <a:extLst>
                        <a:ext uri="{FF2B5EF4-FFF2-40B4-BE49-F238E27FC236}">
                          <a16:creationId xmlns:a16="http://schemas.microsoft.com/office/drawing/2014/main" id="{AFB85E0E-BA38-4124-A188-B405F9994AEF}"/>
                        </a:ext>
                      </a:extLst>
                    </p:cNvPr>
                    <p:cNvSpPr txBox="1"/>
                    <p:nvPr/>
                  </p:nvSpPr>
                  <p:spPr>
                    <a:xfrm>
                      <a:off x="13030019" y="6147282"/>
                      <a:ext cx="1036105" cy="6428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ế</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ạch</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ý</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1" name="Freeform 99">
                      <a:extLst>
                        <a:ext uri="{FF2B5EF4-FFF2-40B4-BE49-F238E27FC236}">
                          <a16:creationId xmlns:a16="http://schemas.microsoft.com/office/drawing/2014/main" id="{58E96C41-D725-4376-A0D3-FAFABD3933E0}"/>
                        </a:ext>
                      </a:extLst>
                    </p:cNvPr>
                    <p:cNvSpPr>
                      <a:spLocks noChangeAspect="1" noEditPoints="1"/>
                    </p:cNvSpPr>
                    <p:nvPr/>
                  </p:nvSpPr>
                  <p:spPr bwMode="auto">
                    <a:xfrm>
                      <a:off x="11583051" y="8094503"/>
                      <a:ext cx="320864" cy="352951"/>
                    </a:xfrm>
                    <a:custGeom>
                      <a:avLst/>
                      <a:gdLst>
                        <a:gd name="T0" fmla="*/ 248 w 898"/>
                        <a:gd name="T1" fmla="*/ 302 h 898"/>
                        <a:gd name="T2" fmla="*/ 358 w 898"/>
                        <a:gd name="T3" fmla="*/ 200 h 898"/>
                        <a:gd name="T4" fmla="*/ 360 w 898"/>
                        <a:gd name="T5" fmla="*/ 148 h 898"/>
                        <a:gd name="T6" fmla="*/ 214 w 898"/>
                        <a:gd name="T7" fmla="*/ 66 h 898"/>
                        <a:gd name="T8" fmla="*/ 88 w 898"/>
                        <a:gd name="T9" fmla="*/ 184 h 898"/>
                        <a:gd name="T10" fmla="*/ 178 w 898"/>
                        <a:gd name="T11" fmla="*/ 308 h 898"/>
                        <a:gd name="T12" fmla="*/ 220 w 898"/>
                        <a:gd name="T13" fmla="*/ 298 h 898"/>
                        <a:gd name="T14" fmla="*/ 132 w 898"/>
                        <a:gd name="T15" fmla="*/ 356 h 898"/>
                        <a:gd name="T16" fmla="*/ 48 w 898"/>
                        <a:gd name="T17" fmla="*/ 248 h 898"/>
                        <a:gd name="T18" fmla="*/ 8 w 898"/>
                        <a:gd name="T19" fmla="*/ 370 h 898"/>
                        <a:gd name="T20" fmla="*/ 2 w 898"/>
                        <a:gd name="T21" fmla="*/ 480 h 898"/>
                        <a:gd name="T22" fmla="*/ 38 w 898"/>
                        <a:gd name="T23" fmla="*/ 626 h 898"/>
                        <a:gd name="T24" fmla="*/ 78 w 898"/>
                        <a:gd name="T25" fmla="*/ 618 h 898"/>
                        <a:gd name="T26" fmla="*/ 144 w 898"/>
                        <a:gd name="T27" fmla="*/ 452 h 898"/>
                        <a:gd name="T28" fmla="*/ 124 w 898"/>
                        <a:gd name="T29" fmla="*/ 394 h 898"/>
                        <a:gd name="T30" fmla="*/ 502 w 898"/>
                        <a:gd name="T31" fmla="*/ 98 h 898"/>
                        <a:gd name="T32" fmla="*/ 634 w 898"/>
                        <a:gd name="T33" fmla="*/ 68 h 898"/>
                        <a:gd name="T34" fmla="*/ 596 w 898"/>
                        <a:gd name="T35" fmla="*/ 24 h 898"/>
                        <a:gd name="T36" fmla="*/ 450 w 898"/>
                        <a:gd name="T37" fmla="*/ 0 h 898"/>
                        <a:gd name="T38" fmla="*/ 292 w 898"/>
                        <a:gd name="T39" fmla="*/ 28 h 898"/>
                        <a:gd name="T40" fmla="*/ 404 w 898"/>
                        <a:gd name="T41" fmla="*/ 96 h 898"/>
                        <a:gd name="T42" fmla="*/ 452 w 898"/>
                        <a:gd name="T43" fmla="*/ 82 h 898"/>
                        <a:gd name="T44" fmla="*/ 620 w 898"/>
                        <a:gd name="T45" fmla="*/ 500 h 898"/>
                        <a:gd name="T46" fmla="*/ 566 w 898"/>
                        <a:gd name="T47" fmla="*/ 376 h 898"/>
                        <a:gd name="T48" fmla="*/ 488 w 898"/>
                        <a:gd name="T49" fmla="*/ 266 h 898"/>
                        <a:gd name="T50" fmla="*/ 422 w 898"/>
                        <a:gd name="T51" fmla="*/ 268 h 898"/>
                        <a:gd name="T52" fmla="*/ 346 w 898"/>
                        <a:gd name="T53" fmla="*/ 298 h 898"/>
                        <a:gd name="T54" fmla="*/ 310 w 898"/>
                        <a:gd name="T55" fmla="*/ 368 h 898"/>
                        <a:gd name="T56" fmla="*/ 310 w 898"/>
                        <a:gd name="T57" fmla="*/ 422 h 898"/>
                        <a:gd name="T58" fmla="*/ 444 w 898"/>
                        <a:gd name="T59" fmla="*/ 492 h 898"/>
                        <a:gd name="T60" fmla="*/ 594 w 898"/>
                        <a:gd name="T61" fmla="*/ 532 h 898"/>
                        <a:gd name="T62" fmla="*/ 718 w 898"/>
                        <a:gd name="T63" fmla="*/ 764 h 898"/>
                        <a:gd name="T64" fmla="*/ 792 w 898"/>
                        <a:gd name="T65" fmla="*/ 740 h 898"/>
                        <a:gd name="T66" fmla="*/ 878 w 898"/>
                        <a:gd name="T67" fmla="*/ 586 h 898"/>
                        <a:gd name="T68" fmla="*/ 762 w 898"/>
                        <a:gd name="T69" fmla="*/ 622 h 898"/>
                        <a:gd name="T70" fmla="*/ 572 w 898"/>
                        <a:gd name="T71" fmla="*/ 596 h 898"/>
                        <a:gd name="T72" fmla="*/ 412 w 898"/>
                        <a:gd name="T73" fmla="*/ 552 h 898"/>
                        <a:gd name="T74" fmla="*/ 268 w 898"/>
                        <a:gd name="T75" fmla="*/ 476 h 898"/>
                        <a:gd name="T76" fmla="*/ 220 w 898"/>
                        <a:gd name="T77" fmla="*/ 490 h 898"/>
                        <a:gd name="T78" fmla="*/ 158 w 898"/>
                        <a:gd name="T79" fmla="*/ 582 h 898"/>
                        <a:gd name="T80" fmla="*/ 122 w 898"/>
                        <a:gd name="T81" fmla="*/ 756 h 898"/>
                        <a:gd name="T82" fmla="*/ 192 w 898"/>
                        <a:gd name="T83" fmla="*/ 816 h 898"/>
                        <a:gd name="T84" fmla="*/ 274 w 898"/>
                        <a:gd name="T85" fmla="*/ 862 h 898"/>
                        <a:gd name="T86" fmla="*/ 444 w 898"/>
                        <a:gd name="T87" fmla="*/ 678 h 898"/>
                        <a:gd name="T88" fmla="*/ 752 w 898"/>
                        <a:gd name="T89" fmla="*/ 116 h 898"/>
                        <a:gd name="T90" fmla="*/ 546 w 898"/>
                        <a:gd name="T91" fmla="*/ 168 h 898"/>
                        <a:gd name="T92" fmla="*/ 544 w 898"/>
                        <a:gd name="T93" fmla="*/ 200 h 898"/>
                        <a:gd name="T94" fmla="*/ 582 w 898"/>
                        <a:gd name="T95" fmla="*/ 278 h 898"/>
                        <a:gd name="T96" fmla="*/ 670 w 898"/>
                        <a:gd name="T97" fmla="*/ 442 h 898"/>
                        <a:gd name="T98" fmla="*/ 722 w 898"/>
                        <a:gd name="T99" fmla="*/ 488 h 898"/>
                        <a:gd name="T100" fmla="*/ 768 w 898"/>
                        <a:gd name="T101" fmla="*/ 536 h 898"/>
                        <a:gd name="T102" fmla="*/ 894 w 898"/>
                        <a:gd name="T103" fmla="*/ 512 h 898"/>
                        <a:gd name="T104" fmla="*/ 898 w 898"/>
                        <a:gd name="T105" fmla="*/ 424 h 898"/>
                        <a:gd name="T106" fmla="*/ 876 w 898"/>
                        <a:gd name="T107" fmla="*/ 308 h 898"/>
                        <a:gd name="T108" fmla="*/ 812 w 898"/>
                        <a:gd name="T109" fmla="*/ 184 h 898"/>
                        <a:gd name="T110" fmla="*/ 620 w 898"/>
                        <a:gd name="T111" fmla="*/ 648 h 898"/>
                        <a:gd name="T112" fmla="*/ 430 w 898"/>
                        <a:gd name="T113" fmla="*/ 780 h 898"/>
                        <a:gd name="T114" fmla="*/ 368 w 898"/>
                        <a:gd name="T115" fmla="*/ 890 h 898"/>
                        <a:gd name="T116" fmla="*/ 476 w 898"/>
                        <a:gd name="T117" fmla="*/ 898 h 898"/>
                        <a:gd name="T118" fmla="*/ 594 w 898"/>
                        <a:gd name="T119" fmla="*/ 874 h 898"/>
                        <a:gd name="T120" fmla="*/ 650 w 898"/>
                        <a:gd name="T121" fmla="*/ 788 h 898"/>
                        <a:gd name="T122" fmla="*/ 652 w 898"/>
                        <a:gd name="T123" fmla="*/ 664 h 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8" h="898">
                          <a:moveTo>
                            <a:pt x="220" y="298"/>
                          </a:moveTo>
                          <a:lnTo>
                            <a:pt x="220" y="298"/>
                          </a:lnTo>
                          <a:lnTo>
                            <a:pt x="234" y="300"/>
                          </a:lnTo>
                          <a:lnTo>
                            <a:pt x="248" y="302"/>
                          </a:lnTo>
                          <a:lnTo>
                            <a:pt x="248" y="302"/>
                          </a:lnTo>
                          <a:lnTo>
                            <a:pt x="274" y="274"/>
                          </a:lnTo>
                          <a:lnTo>
                            <a:pt x="300" y="248"/>
                          </a:lnTo>
                          <a:lnTo>
                            <a:pt x="328" y="224"/>
                          </a:lnTo>
                          <a:lnTo>
                            <a:pt x="358" y="200"/>
                          </a:lnTo>
                          <a:lnTo>
                            <a:pt x="358" y="200"/>
                          </a:lnTo>
                          <a:lnTo>
                            <a:pt x="356" y="190"/>
                          </a:lnTo>
                          <a:lnTo>
                            <a:pt x="356" y="178"/>
                          </a:lnTo>
                          <a:lnTo>
                            <a:pt x="356" y="178"/>
                          </a:lnTo>
                          <a:lnTo>
                            <a:pt x="358" y="162"/>
                          </a:lnTo>
                          <a:lnTo>
                            <a:pt x="360" y="148"/>
                          </a:lnTo>
                          <a:lnTo>
                            <a:pt x="360" y="148"/>
                          </a:lnTo>
                          <a:lnTo>
                            <a:pt x="326" y="124"/>
                          </a:lnTo>
                          <a:lnTo>
                            <a:pt x="290" y="104"/>
                          </a:lnTo>
                          <a:lnTo>
                            <a:pt x="252" y="84"/>
                          </a:lnTo>
                          <a:lnTo>
                            <a:pt x="214" y="66"/>
                          </a:lnTo>
                          <a:lnTo>
                            <a:pt x="214" y="66"/>
                          </a:lnTo>
                          <a:lnTo>
                            <a:pt x="178" y="92"/>
                          </a:lnTo>
                          <a:lnTo>
                            <a:pt x="146" y="118"/>
                          </a:lnTo>
                          <a:lnTo>
                            <a:pt x="116" y="150"/>
                          </a:lnTo>
                          <a:lnTo>
                            <a:pt x="88" y="184"/>
                          </a:lnTo>
                          <a:lnTo>
                            <a:pt x="88" y="184"/>
                          </a:lnTo>
                          <a:lnTo>
                            <a:pt x="108" y="216"/>
                          </a:lnTo>
                          <a:lnTo>
                            <a:pt x="130" y="248"/>
                          </a:lnTo>
                          <a:lnTo>
                            <a:pt x="152" y="278"/>
                          </a:lnTo>
                          <a:lnTo>
                            <a:pt x="178" y="308"/>
                          </a:lnTo>
                          <a:lnTo>
                            <a:pt x="178" y="308"/>
                          </a:lnTo>
                          <a:lnTo>
                            <a:pt x="198" y="300"/>
                          </a:lnTo>
                          <a:lnTo>
                            <a:pt x="208" y="298"/>
                          </a:lnTo>
                          <a:lnTo>
                            <a:pt x="220" y="298"/>
                          </a:lnTo>
                          <a:lnTo>
                            <a:pt x="220" y="298"/>
                          </a:lnTo>
                          <a:close/>
                          <a:moveTo>
                            <a:pt x="124" y="394"/>
                          </a:moveTo>
                          <a:lnTo>
                            <a:pt x="124" y="394"/>
                          </a:lnTo>
                          <a:lnTo>
                            <a:pt x="126" y="374"/>
                          </a:lnTo>
                          <a:lnTo>
                            <a:pt x="132" y="356"/>
                          </a:lnTo>
                          <a:lnTo>
                            <a:pt x="132" y="356"/>
                          </a:lnTo>
                          <a:lnTo>
                            <a:pt x="108" y="330"/>
                          </a:lnTo>
                          <a:lnTo>
                            <a:pt x="88" y="304"/>
                          </a:lnTo>
                          <a:lnTo>
                            <a:pt x="68" y="276"/>
                          </a:lnTo>
                          <a:lnTo>
                            <a:pt x="48" y="248"/>
                          </a:lnTo>
                          <a:lnTo>
                            <a:pt x="48" y="248"/>
                          </a:lnTo>
                          <a:lnTo>
                            <a:pt x="38" y="270"/>
                          </a:lnTo>
                          <a:lnTo>
                            <a:pt x="28" y="294"/>
                          </a:lnTo>
                          <a:lnTo>
                            <a:pt x="20" y="318"/>
                          </a:lnTo>
                          <a:lnTo>
                            <a:pt x="14" y="344"/>
                          </a:lnTo>
                          <a:lnTo>
                            <a:pt x="8" y="370"/>
                          </a:lnTo>
                          <a:lnTo>
                            <a:pt x="4" y="396"/>
                          </a:lnTo>
                          <a:lnTo>
                            <a:pt x="2" y="422"/>
                          </a:lnTo>
                          <a:lnTo>
                            <a:pt x="0" y="448"/>
                          </a:lnTo>
                          <a:lnTo>
                            <a:pt x="0" y="448"/>
                          </a:lnTo>
                          <a:lnTo>
                            <a:pt x="2" y="480"/>
                          </a:lnTo>
                          <a:lnTo>
                            <a:pt x="6" y="510"/>
                          </a:lnTo>
                          <a:lnTo>
                            <a:pt x="10" y="540"/>
                          </a:lnTo>
                          <a:lnTo>
                            <a:pt x="18" y="570"/>
                          </a:lnTo>
                          <a:lnTo>
                            <a:pt x="26" y="598"/>
                          </a:lnTo>
                          <a:lnTo>
                            <a:pt x="38" y="626"/>
                          </a:lnTo>
                          <a:lnTo>
                            <a:pt x="50" y="652"/>
                          </a:lnTo>
                          <a:lnTo>
                            <a:pt x="64" y="678"/>
                          </a:lnTo>
                          <a:lnTo>
                            <a:pt x="64" y="678"/>
                          </a:lnTo>
                          <a:lnTo>
                            <a:pt x="70" y="648"/>
                          </a:lnTo>
                          <a:lnTo>
                            <a:pt x="78" y="618"/>
                          </a:lnTo>
                          <a:lnTo>
                            <a:pt x="86" y="590"/>
                          </a:lnTo>
                          <a:lnTo>
                            <a:pt x="94" y="562"/>
                          </a:lnTo>
                          <a:lnTo>
                            <a:pt x="116" y="506"/>
                          </a:lnTo>
                          <a:lnTo>
                            <a:pt x="144" y="452"/>
                          </a:lnTo>
                          <a:lnTo>
                            <a:pt x="144" y="452"/>
                          </a:lnTo>
                          <a:lnTo>
                            <a:pt x="134" y="438"/>
                          </a:lnTo>
                          <a:lnTo>
                            <a:pt x="128" y="424"/>
                          </a:lnTo>
                          <a:lnTo>
                            <a:pt x="124" y="410"/>
                          </a:lnTo>
                          <a:lnTo>
                            <a:pt x="124" y="394"/>
                          </a:lnTo>
                          <a:lnTo>
                            <a:pt x="124" y="394"/>
                          </a:lnTo>
                          <a:close/>
                          <a:moveTo>
                            <a:pt x="452" y="82"/>
                          </a:moveTo>
                          <a:lnTo>
                            <a:pt x="452" y="82"/>
                          </a:lnTo>
                          <a:lnTo>
                            <a:pt x="470" y="84"/>
                          </a:lnTo>
                          <a:lnTo>
                            <a:pt x="488" y="90"/>
                          </a:lnTo>
                          <a:lnTo>
                            <a:pt x="502" y="98"/>
                          </a:lnTo>
                          <a:lnTo>
                            <a:pt x="516" y="108"/>
                          </a:lnTo>
                          <a:lnTo>
                            <a:pt x="516" y="108"/>
                          </a:lnTo>
                          <a:lnTo>
                            <a:pt x="554" y="94"/>
                          </a:lnTo>
                          <a:lnTo>
                            <a:pt x="594" y="80"/>
                          </a:lnTo>
                          <a:lnTo>
                            <a:pt x="634" y="68"/>
                          </a:lnTo>
                          <a:lnTo>
                            <a:pt x="674" y="60"/>
                          </a:lnTo>
                          <a:lnTo>
                            <a:pt x="674" y="60"/>
                          </a:lnTo>
                          <a:lnTo>
                            <a:pt x="648" y="46"/>
                          </a:lnTo>
                          <a:lnTo>
                            <a:pt x="622" y="34"/>
                          </a:lnTo>
                          <a:lnTo>
                            <a:pt x="596" y="24"/>
                          </a:lnTo>
                          <a:lnTo>
                            <a:pt x="568" y="16"/>
                          </a:lnTo>
                          <a:lnTo>
                            <a:pt x="540" y="8"/>
                          </a:lnTo>
                          <a:lnTo>
                            <a:pt x="510" y="4"/>
                          </a:lnTo>
                          <a:lnTo>
                            <a:pt x="480" y="0"/>
                          </a:lnTo>
                          <a:lnTo>
                            <a:pt x="450" y="0"/>
                          </a:lnTo>
                          <a:lnTo>
                            <a:pt x="450" y="0"/>
                          </a:lnTo>
                          <a:lnTo>
                            <a:pt x="408" y="2"/>
                          </a:lnTo>
                          <a:lnTo>
                            <a:pt x="368" y="8"/>
                          </a:lnTo>
                          <a:lnTo>
                            <a:pt x="330" y="16"/>
                          </a:lnTo>
                          <a:lnTo>
                            <a:pt x="292" y="28"/>
                          </a:lnTo>
                          <a:lnTo>
                            <a:pt x="292" y="28"/>
                          </a:lnTo>
                          <a:lnTo>
                            <a:pt x="320" y="44"/>
                          </a:lnTo>
                          <a:lnTo>
                            <a:pt x="348" y="60"/>
                          </a:lnTo>
                          <a:lnTo>
                            <a:pt x="376" y="78"/>
                          </a:lnTo>
                          <a:lnTo>
                            <a:pt x="404" y="96"/>
                          </a:lnTo>
                          <a:lnTo>
                            <a:pt x="404" y="96"/>
                          </a:lnTo>
                          <a:lnTo>
                            <a:pt x="414" y="90"/>
                          </a:lnTo>
                          <a:lnTo>
                            <a:pt x="426" y="86"/>
                          </a:lnTo>
                          <a:lnTo>
                            <a:pt x="438" y="84"/>
                          </a:lnTo>
                          <a:lnTo>
                            <a:pt x="452" y="82"/>
                          </a:lnTo>
                          <a:lnTo>
                            <a:pt x="452" y="82"/>
                          </a:lnTo>
                          <a:close/>
                          <a:moveTo>
                            <a:pt x="594" y="532"/>
                          </a:moveTo>
                          <a:lnTo>
                            <a:pt x="594" y="532"/>
                          </a:lnTo>
                          <a:lnTo>
                            <a:pt x="606" y="514"/>
                          </a:lnTo>
                          <a:lnTo>
                            <a:pt x="620" y="500"/>
                          </a:lnTo>
                          <a:lnTo>
                            <a:pt x="620" y="500"/>
                          </a:lnTo>
                          <a:lnTo>
                            <a:pt x="608" y="468"/>
                          </a:lnTo>
                          <a:lnTo>
                            <a:pt x="596" y="436"/>
                          </a:lnTo>
                          <a:lnTo>
                            <a:pt x="580" y="406"/>
                          </a:lnTo>
                          <a:lnTo>
                            <a:pt x="566" y="376"/>
                          </a:lnTo>
                          <a:lnTo>
                            <a:pt x="548" y="348"/>
                          </a:lnTo>
                          <a:lnTo>
                            <a:pt x="530" y="320"/>
                          </a:lnTo>
                          <a:lnTo>
                            <a:pt x="510" y="292"/>
                          </a:lnTo>
                          <a:lnTo>
                            <a:pt x="488" y="266"/>
                          </a:lnTo>
                          <a:lnTo>
                            <a:pt x="488" y="266"/>
                          </a:lnTo>
                          <a:lnTo>
                            <a:pt x="470" y="272"/>
                          </a:lnTo>
                          <a:lnTo>
                            <a:pt x="452" y="274"/>
                          </a:lnTo>
                          <a:lnTo>
                            <a:pt x="452" y="274"/>
                          </a:lnTo>
                          <a:lnTo>
                            <a:pt x="436" y="272"/>
                          </a:lnTo>
                          <a:lnTo>
                            <a:pt x="422" y="268"/>
                          </a:lnTo>
                          <a:lnTo>
                            <a:pt x="408" y="264"/>
                          </a:lnTo>
                          <a:lnTo>
                            <a:pt x="396" y="256"/>
                          </a:lnTo>
                          <a:lnTo>
                            <a:pt x="396" y="256"/>
                          </a:lnTo>
                          <a:lnTo>
                            <a:pt x="370" y="276"/>
                          </a:lnTo>
                          <a:lnTo>
                            <a:pt x="346" y="298"/>
                          </a:lnTo>
                          <a:lnTo>
                            <a:pt x="322" y="320"/>
                          </a:lnTo>
                          <a:lnTo>
                            <a:pt x="300" y="344"/>
                          </a:lnTo>
                          <a:lnTo>
                            <a:pt x="300" y="344"/>
                          </a:lnTo>
                          <a:lnTo>
                            <a:pt x="306" y="356"/>
                          </a:lnTo>
                          <a:lnTo>
                            <a:pt x="310" y="368"/>
                          </a:lnTo>
                          <a:lnTo>
                            <a:pt x="314" y="380"/>
                          </a:lnTo>
                          <a:lnTo>
                            <a:pt x="314" y="394"/>
                          </a:lnTo>
                          <a:lnTo>
                            <a:pt x="314" y="394"/>
                          </a:lnTo>
                          <a:lnTo>
                            <a:pt x="314" y="408"/>
                          </a:lnTo>
                          <a:lnTo>
                            <a:pt x="310" y="422"/>
                          </a:lnTo>
                          <a:lnTo>
                            <a:pt x="310" y="422"/>
                          </a:lnTo>
                          <a:lnTo>
                            <a:pt x="342" y="442"/>
                          </a:lnTo>
                          <a:lnTo>
                            <a:pt x="376" y="462"/>
                          </a:lnTo>
                          <a:lnTo>
                            <a:pt x="410" y="478"/>
                          </a:lnTo>
                          <a:lnTo>
                            <a:pt x="444" y="492"/>
                          </a:lnTo>
                          <a:lnTo>
                            <a:pt x="480" y="506"/>
                          </a:lnTo>
                          <a:lnTo>
                            <a:pt x="518" y="516"/>
                          </a:lnTo>
                          <a:lnTo>
                            <a:pt x="556" y="526"/>
                          </a:lnTo>
                          <a:lnTo>
                            <a:pt x="594" y="532"/>
                          </a:lnTo>
                          <a:lnTo>
                            <a:pt x="594" y="532"/>
                          </a:lnTo>
                          <a:close/>
                          <a:moveTo>
                            <a:pt x="718" y="662"/>
                          </a:moveTo>
                          <a:lnTo>
                            <a:pt x="718" y="662"/>
                          </a:lnTo>
                          <a:lnTo>
                            <a:pt x="720" y="716"/>
                          </a:lnTo>
                          <a:lnTo>
                            <a:pt x="720" y="716"/>
                          </a:lnTo>
                          <a:lnTo>
                            <a:pt x="718" y="764"/>
                          </a:lnTo>
                          <a:lnTo>
                            <a:pt x="714" y="812"/>
                          </a:lnTo>
                          <a:lnTo>
                            <a:pt x="714" y="812"/>
                          </a:lnTo>
                          <a:lnTo>
                            <a:pt x="742" y="790"/>
                          </a:lnTo>
                          <a:lnTo>
                            <a:pt x="768" y="766"/>
                          </a:lnTo>
                          <a:lnTo>
                            <a:pt x="792" y="740"/>
                          </a:lnTo>
                          <a:lnTo>
                            <a:pt x="814" y="712"/>
                          </a:lnTo>
                          <a:lnTo>
                            <a:pt x="834" y="682"/>
                          </a:lnTo>
                          <a:lnTo>
                            <a:pt x="850" y="652"/>
                          </a:lnTo>
                          <a:lnTo>
                            <a:pt x="866" y="620"/>
                          </a:lnTo>
                          <a:lnTo>
                            <a:pt x="878" y="586"/>
                          </a:lnTo>
                          <a:lnTo>
                            <a:pt x="878" y="586"/>
                          </a:lnTo>
                          <a:lnTo>
                            <a:pt x="826" y="596"/>
                          </a:lnTo>
                          <a:lnTo>
                            <a:pt x="772" y="604"/>
                          </a:lnTo>
                          <a:lnTo>
                            <a:pt x="772" y="604"/>
                          </a:lnTo>
                          <a:lnTo>
                            <a:pt x="762" y="622"/>
                          </a:lnTo>
                          <a:lnTo>
                            <a:pt x="750" y="638"/>
                          </a:lnTo>
                          <a:lnTo>
                            <a:pt x="736" y="652"/>
                          </a:lnTo>
                          <a:lnTo>
                            <a:pt x="718" y="662"/>
                          </a:lnTo>
                          <a:lnTo>
                            <a:pt x="718" y="662"/>
                          </a:lnTo>
                          <a:close/>
                          <a:moveTo>
                            <a:pt x="572" y="596"/>
                          </a:moveTo>
                          <a:lnTo>
                            <a:pt x="572" y="596"/>
                          </a:lnTo>
                          <a:lnTo>
                            <a:pt x="530" y="588"/>
                          </a:lnTo>
                          <a:lnTo>
                            <a:pt x="490" y="578"/>
                          </a:lnTo>
                          <a:lnTo>
                            <a:pt x="450" y="566"/>
                          </a:lnTo>
                          <a:lnTo>
                            <a:pt x="412" y="552"/>
                          </a:lnTo>
                          <a:lnTo>
                            <a:pt x="374" y="536"/>
                          </a:lnTo>
                          <a:lnTo>
                            <a:pt x="338" y="518"/>
                          </a:lnTo>
                          <a:lnTo>
                            <a:pt x="304" y="498"/>
                          </a:lnTo>
                          <a:lnTo>
                            <a:pt x="268" y="476"/>
                          </a:lnTo>
                          <a:lnTo>
                            <a:pt x="268" y="476"/>
                          </a:lnTo>
                          <a:lnTo>
                            <a:pt x="258" y="482"/>
                          </a:lnTo>
                          <a:lnTo>
                            <a:pt x="246" y="486"/>
                          </a:lnTo>
                          <a:lnTo>
                            <a:pt x="232" y="488"/>
                          </a:lnTo>
                          <a:lnTo>
                            <a:pt x="220" y="490"/>
                          </a:lnTo>
                          <a:lnTo>
                            <a:pt x="220" y="490"/>
                          </a:lnTo>
                          <a:lnTo>
                            <a:pt x="200" y="488"/>
                          </a:lnTo>
                          <a:lnTo>
                            <a:pt x="200" y="488"/>
                          </a:lnTo>
                          <a:lnTo>
                            <a:pt x="184" y="518"/>
                          </a:lnTo>
                          <a:lnTo>
                            <a:pt x="170" y="550"/>
                          </a:lnTo>
                          <a:lnTo>
                            <a:pt x="158" y="582"/>
                          </a:lnTo>
                          <a:lnTo>
                            <a:pt x="148" y="616"/>
                          </a:lnTo>
                          <a:lnTo>
                            <a:pt x="138" y="650"/>
                          </a:lnTo>
                          <a:lnTo>
                            <a:pt x="132" y="684"/>
                          </a:lnTo>
                          <a:lnTo>
                            <a:pt x="126" y="720"/>
                          </a:lnTo>
                          <a:lnTo>
                            <a:pt x="122" y="756"/>
                          </a:lnTo>
                          <a:lnTo>
                            <a:pt x="122" y="756"/>
                          </a:lnTo>
                          <a:lnTo>
                            <a:pt x="138" y="772"/>
                          </a:lnTo>
                          <a:lnTo>
                            <a:pt x="156" y="788"/>
                          </a:lnTo>
                          <a:lnTo>
                            <a:pt x="174" y="802"/>
                          </a:lnTo>
                          <a:lnTo>
                            <a:pt x="192" y="816"/>
                          </a:lnTo>
                          <a:lnTo>
                            <a:pt x="212" y="830"/>
                          </a:lnTo>
                          <a:lnTo>
                            <a:pt x="232" y="842"/>
                          </a:lnTo>
                          <a:lnTo>
                            <a:pt x="254" y="852"/>
                          </a:lnTo>
                          <a:lnTo>
                            <a:pt x="274" y="862"/>
                          </a:lnTo>
                          <a:lnTo>
                            <a:pt x="274" y="862"/>
                          </a:lnTo>
                          <a:lnTo>
                            <a:pt x="304" y="822"/>
                          </a:lnTo>
                          <a:lnTo>
                            <a:pt x="334" y="782"/>
                          </a:lnTo>
                          <a:lnTo>
                            <a:pt x="368" y="746"/>
                          </a:lnTo>
                          <a:lnTo>
                            <a:pt x="404" y="710"/>
                          </a:lnTo>
                          <a:lnTo>
                            <a:pt x="444" y="678"/>
                          </a:lnTo>
                          <a:lnTo>
                            <a:pt x="484" y="648"/>
                          </a:lnTo>
                          <a:lnTo>
                            <a:pt x="528" y="622"/>
                          </a:lnTo>
                          <a:lnTo>
                            <a:pt x="572" y="596"/>
                          </a:lnTo>
                          <a:lnTo>
                            <a:pt x="572" y="596"/>
                          </a:lnTo>
                          <a:close/>
                          <a:moveTo>
                            <a:pt x="752" y="116"/>
                          </a:moveTo>
                          <a:lnTo>
                            <a:pt x="752" y="116"/>
                          </a:lnTo>
                          <a:lnTo>
                            <a:pt x="698" y="124"/>
                          </a:lnTo>
                          <a:lnTo>
                            <a:pt x="646" y="134"/>
                          </a:lnTo>
                          <a:lnTo>
                            <a:pt x="596" y="150"/>
                          </a:lnTo>
                          <a:lnTo>
                            <a:pt x="546" y="168"/>
                          </a:lnTo>
                          <a:lnTo>
                            <a:pt x="546" y="168"/>
                          </a:lnTo>
                          <a:lnTo>
                            <a:pt x="548" y="178"/>
                          </a:lnTo>
                          <a:lnTo>
                            <a:pt x="548" y="178"/>
                          </a:lnTo>
                          <a:lnTo>
                            <a:pt x="546" y="190"/>
                          </a:lnTo>
                          <a:lnTo>
                            <a:pt x="544" y="200"/>
                          </a:lnTo>
                          <a:lnTo>
                            <a:pt x="542" y="210"/>
                          </a:lnTo>
                          <a:lnTo>
                            <a:pt x="538" y="220"/>
                          </a:lnTo>
                          <a:lnTo>
                            <a:pt x="538" y="220"/>
                          </a:lnTo>
                          <a:lnTo>
                            <a:pt x="560" y="248"/>
                          </a:lnTo>
                          <a:lnTo>
                            <a:pt x="582" y="278"/>
                          </a:lnTo>
                          <a:lnTo>
                            <a:pt x="602" y="310"/>
                          </a:lnTo>
                          <a:lnTo>
                            <a:pt x="622" y="342"/>
                          </a:lnTo>
                          <a:lnTo>
                            <a:pt x="640" y="374"/>
                          </a:lnTo>
                          <a:lnTo>
                            <a:pt x="656" y="408"/>
                          </a:lnTo>
                          <a:lnTo>
                            <a:pt x="670" y="442"/>
                          </a:lnTo>
                          <a:lnTo>
                            <a:pt x="682" y="478"/>
                          </a:lnTo>
                          <a:lnTo>
                            <a:pt x="682" y="478"/>
                          </a:lnTo>
                          <a:lnTo>
                            <a:pt x="696" y="480"/>
                          </a:lnTo>
                          <a:lnTo>
                            <a:pt x="710" y="482"/>
                          </a:lnTo>
                          <a:lnTo>
                            <a:pt x="722" y="488"/>
                          </a:lnTo>
                          <a:lnTo>
                            <a:pt x="734" y="494"/>
                          </a:lnTo>
                          <a:lnTo>
                            <a:pt x="746" y="504"/>
                          </a:lnTo>
                          <a:lnTo>
                            <a:pt x="754" y="514"/>
                          </a:lnTo>
                          <a:lnTo>
                            <a:pt x="762" y="524"/>
                          </a:lnTo>
                          <a:lnTo>
                            <a:pt x="768" y="536"/>
                          </a:lnTo>
                          <a:lnTo>
                            <a:pt x="768" y="536"/>
                          </a:lnTo>
                          <a:lnTo>
                            <a:pt x="800" y="532"/>
                          </a:lnTo>
                          <a:lnTo>
                            <a:pt x="832" y="526"/>
                          </a:lnTo>
                          <a:lnTo>
                            <a:pt x="864" y="520"/>
                          </a:lnTo>
                          <a:lnTo>
                            <a:pt x="894" y="512"/>
                          </a:lnTo>
                          <a:lnTo>
                            <a:pt x="894" y="512"/>
                          </a:lnTo>
                          <a:lnTo>
                            <a:pt x="898" y="480"/>
                          </a:lnTo>
                          <a:lnTo>
                            <a:pt x="898" y="448"/>
                          </a:lnTo>
                          <a:lnTo>
                            <a:pt x="898" y="448"/>
                          </a:lnTo>
                          <a:lnTo>
                            <a:pt x="898" y="424"/>
                          </a:lnTo>
                          <a:lnTo>
                            <a:pt x="896" y="400"/>
                          </a:lnTo>
                          <a:lnTo>
                            <a:pt x="892" y="376"/>
                          </a:lnTo>
                          <a:lnTo>
                            <a:pt x="888" y="352"/>
                          </a:lnTo>
                          <a:lnTo>
                            <a:pt x="882" y="330"/>
                          </a:lnTo>
                          <a:lnTo>
                            <a:pt x="876" y="308"/>
                          </a:lnTo>
                          <a:lnTo>
                            <a:pt x="868" y="286"/>
                          </a:lnTo>
                          <a:lnTo>
                            <a:pt x="858" y="264"/>
                          </a:lnTo>
                          <a:lnTo>
                            <a:pt x="848" y="244"/>
                          </a:lnTo>
                          <a:lnTo>
                            <a:pt x="838" y="222"/>
                          </a:lnTo>
                          <a:lnTo>
                            <a:pt x="812" y="184"/>
                          </a:lnTo>
                          <a:lnTo>
                            <a:pt x="784" y="148"/>
                          </a:lnTo>
                          <a:lnTo>
                            <a:pt x="752" y="116"/>
                          </a:lnTo>
                          <a:lnTo>
                            <a:pt x="752" y="116"/>
                          </a:lnTo>
                          <a:close/>
                          <a:moveTo>
                            <a:pt x="620" y="648"/>
                          </a:moveTo>
                          <a:lnTo>
                            <a:pt x="620" y="648"/>
                          </a:lnTo>
                          <a:lnTo>
                            <a:pt x="578" y="668"/>
                          </a:lnTo>
                          <a:lnTo>
                            <a:pt x="538" y="692"/>
                          </a:lnTo>
                          <a:lnTo>
                            <a:pt x="500" y="720"/>
                          </a:lnTo>
                          <a:lnTo>
                            <a:pt x="464" y="748"/>
                          </a:lnTo>
                          <a:lnTo>
                            <a:pt x="430" y="780"/>
                          </a:lnTo>
                          <a:lnTo>
                            <a:pt x="398" y="812"/>
                          </a:lnTo>
                          <a:lnTo>
                            <a:pt x="368" y="848"/>
                          </a:lnTo>
                          <a:lnTo>
                            <a:pt x="340" y="884"/>
                          </a:lnTo>
                          <a:lnTo>
                            <a:pt x="340" y="884"/>
                          </a:lnTo>
                          <a:lnTo>
                            <a:pt x="368" y="890"/>
                          </a:lnTo>
                          <a:lnTo>
                            <a:pt x="394" y="894"/>
                          </a:lnTo>
                          <a:lnTo>
                            <a:pt x="422" y="898"/>
                          </a:lnTo>
                          <a:lnTo>
                            <a:pt x="450" y="898"/>
                          </a:lnTo>
                          <a:lnTo>
                            <a:pt x="450" y="898"/>
                          </a:lnTo>
                          <a:lnTo>
                            <a:pt x="476" y="898"/>
                          </a:lnTo>
                          <a:lnTo>
                            <a:pt x="500" y="896"/>
                          </a:lnTo>
                          <a:lnTo>
                            <a:pt x="524" y="892"/>
                          </a:lnTo>
                          <a:lnTo>
                            <a:pt x="548" y="888"/>
                          </a:lnTo>
                          <a:lnTo>
                            <a:pt x="572" y="882"/>
                          </a:lnTo>
                          <a:lnTo>
                            <a:pt x="594" y="874"/>
                          </a:lnTo>
                          <a:lnTo>
                            <a:pt x="618" y="866"/>
                          </a:lnTo>
                          <a:lnTo>
                            <a:pt x="640" y="856"/>
                          </a:lnTo>
                          <a:lnTo>
                            <a:pt x="640" y="856"/>
                          </a:lnTo>
                          <a:lnTo>
                            <a:pt x="646" y="822"/>
                          </a:lnTo>
                          <a:lnTo>
                            <a:pt x="650" y="788"/>
                          </a:lnTo>
                          <a:lnTo>
                            <a:pt x="652" y="752"/>
                          </a:lnTo>
                          <a:lnTo>
                            <a:pt x="654" y="716"/>
                          </a:lnTo>
                          <a:lnTo>
                            <a:pt x="654" y="716"/>
                          </a:lnTo>
                          <a:lnTo>
                            <a:pt x="652" y="664"/>
                          </a:lnTo>
                          <a:lnTo>
                            <a:pt x="652" y="664"/>
                          </a:lnTo>
                          <a:lnTo>
                            <a:pt x="634" y="658"/>
                          </a:lnTo>
                          <a:lnTo>
                            <a:pt x="620" y="648"/>
                          </a:lnTo>
                          <a:lnTo>
                            <a:pt x="620" y="64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2" name="TextBox 19">
                      <a:extLst>
                        <a:ext uri="{FF2B5EF4-FFF2-40B4-BE49-F238E27FC236}">
                          <a16:creationId xmlns:a16="http://schemas.microsoft.com/office/drawing/2014/main" id="{70BC8026-F020-4136-8B82-44F7E81E1D9F}"/>
                        </a:ext>
                      </a:extLst>
                    </p:cNvPr>
                    <p:cNvSpPr txBox="1"/>
                    <p:nvPr/>
                  </p:nvSpPr>
                  <p:spPr>
                    <a:xfrm>
                      <a:off x="13651022" y="7156920"/>
                      <a:ext cx="1018768" cy="4615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Phâ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yền</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iểm</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oát</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3" name="Freeform 101">
                      <a:extLst>
                        <a:ext uri="{FF2B5EF4-FFF2-40B4-BE49-F238E27FC236}">
                          <a16:creationId xmlns:a16="http://schemas.microsoft.com/office/drawing/2014/main" id="{8B5F57D9-EF46-48AF-9E5E-461945D3D943}"/>
                        </a:ext>
                      </a:extLst>
                    </p:cNvPr>
                    <p:cNvSpPr>
                      <a:spLocks noChangeAspect="1" noEditPoints="1"/>
                    </p:cNvSpPr>
                    <p:nvPr/>
                  </p:nvSpPr>
                  <p:spPr bwMode="auto">
                    <a:xfrm>
                      <a:off x="13310599" y="7954629"/>
                      <a:ext cx="346793" cy="352952"/>
                    </a:xfrm>
                    <a:custGeom>
                      <a:avLst/>
                      <a:gdLst>
                        <a:gd name="T0" fmla="*/ 674 w 1284"/>
                        <a:gd name="T1" fmla="*/ 290 h 1188"/>
                        <a:gd name="T2" fmla="*/ 706 w 1284"/>
                        <a:gd name="T3" fmla="*/ 266 h 1188"/>
                        <a:gd name="T4" fmla="*/ 718 w 1284"/>
                        <a:gd name="T5" fmla="*/ 272 h 1188"/>
                        <a:gd name="T6" fmla="*/ 738 w 1284"/>
                        <a:gd name="T7" fmla="*/ 274 h 1188"/>
                        <a:gd name="T8" fmla="*/ 756 w 1284"/>
                        <a:gd name="T9" fmla="*/ 264 h 1188"/>
                        <a:gd name="T10" fmla="*/ 780 w 1284"/>
                        <a:gd name="T11" fmla="*/ 238 h 1188"/>
                        <a:gd name="T12" fmla="*/ 786 w 1284"/>
                        <a:gd name="T13" fmla="*/ 218 h 1188"/>
                        <a:gd name="T14" fmla="*/ 778 w 1284"/>
                        <a:gd name="T15" fmla="*/ 198 h 1188"/>
                        <a:gd name="T16" fmla="*/ 578 w 1284"/>
                        <a:gd name="T17" fmla="*/ 10 h 1188"/>
                        <a:gd name="T18" fmla="*/ 560 w 1284"/>
                        <a:gd name="T19" fmla="*/ 0 h 1188"/>
                        <a:gd name="T20" fmla="*/ 540 w 1284"/>
                        <a:gd name="T21" fmla="*/ 2 h 1188"/>
                        <a:gd name="T22" fmla="*/ 510 w 1284"/>
                        <a:gd name="T23" fmla="*/ 32 h 1188"/>
                        <a:gd name="T24" fmla="*/ 502 w 1284"/>
                        <a:gd name="T25" fmla="*/ 44 h 1188"/>
                        <a:gd name="T26" fmla="*/ 500 w 1284"/>
                        <a:gd name="T27" fmla="*/ 64 h 1188"/>
                        <a:gd name="T28" fmla="*/ 510 w 1284"/>
                        <a:gd name="T29" fmla="*/ 82 h 1188"/>
                        <a:gd name="T30" fmla="*/ 312 w 1284"/>
                        <a:gd name="T31" fmla="*/ 684 h 1188"/>
                        <a:gd name="T32" fmla="*/ 332 w 1284"/>
                        <a:gd name="T33" fmla="*/ 692 h 1188"/>
                        <a:gd name="T34" fmla="*/ 350 w 1284"/>
                        <a:gd name="T35" fmla="*/ 690 h 1188"/>
                        <a:gd name="T36" fmla="*/ 382 w 1284"/>
                        <a:gd name="T37" fmla="*/ 660 h 1188"/>
                        <a:gd name="T38" fmla="*/ 390 w 1284"/>
                        <a:gd name="T39" fmla="*/ 648 h 1188"/>
                        <a:gd name="T40" fmla="*/ 390 w 1284"/>
                        <a:gd name="T41" fmla="*/ 628 h 1188"/>
                        <a:gd name="T42" fmla="*/ 380 w 1284"/>
                        <a:gd name="T43" fmla="*/ 612 h 1188"/>
                        <a:gd name="T44" fmla="*/ 180 w 1284"/>
                        <a:gd name="T45" fmla="*/ 424 h 1188"/>
                        <a:gd name="T46" fmla="*/ 160 w 1284"/>
                        <a:gd name="T47" fmla="*/ 418 h 1188"/>
                        <a:gd name="T48" fmla="*/ 140 w 1284"/>
                        <a:gd name="T49" fmla="*/ 424 h 1188"/>
                        <a:gd name="T50" fmla="*/ 116 w 1284"/>
                        <a:gd name="T51" fmla="*/ 450 h 1188"/>
                        <a:gd name="T52" fmla="*/ 106 w 1284"/>
                        <a:gd name="T53" fmla="*/ 468 h 1188"/>
                        <a:gd name="T54" fmla="*/ 110 w 1284"/>
                        <a:gd name="T55" fmla="*/ 488 h 1188"/>
                        <a:gd name="T56" fmla="*/ 312 w 1284"/>
                        <a:gd name="T57" fmla="*/ 684 h 1188"/>
                        <a:gd name="T58" fmla="*/ 1174 w 1284"/>
                        <a:gd name="T59" fmla="*/ 1110 h 1188"/>
                        <a:gd name="T60" fmla="*/ 1204 w 1284"/>
                        <a:gd name="T61" fmla="*/ 1130 h 1188"/>
                        <a:gd name="T62" fmla="*/ 1234 w 1284"/>
                        <a:gd name="T63" fmla="*/ 1134 h 1188"/>
                        <a:gd name="T64" fmla="*/ 1276 w 1284"/>
                        <a:gd name="T65" fmla="*/ 1098 h 1188"/>
                        <a:gd name="T66" fmla="*/ 1284 w 1284"/>
                        <a:gd name="T67" fmla="*/ 1082 h 1188"/>
                        <a:gd name="T68" fmla="*/ 1278 w 1284"/>
                        <a:gd name="T69" fmla="*/ 1054 h 1188"/>
                        <a:gd name="T70" fmla="*/ 1256 w 1284"/>
                        <a:gd name="T71" fmla="*/ 1024 h 1188"/>
                        <a:gd name="T72" fmla="*/ 750 w 1284"/>
                        <a:gd name="T73" fmla="*/ 1108 h 1188"/>
                        <a:gd name="T74" fmla="*/ 744 w 1284"/>
                        <a:gd name="T75" fmla="*/ 1096 h 1188"/>
                        <a:gd name="T76" fmla="*/ 18 w 1284"/>
                        <a:gd name="T77" fmla="*/ 1092 h 1188"/>
                        <a:gd name="T78" fmla="*/ 6 w 1284"/>
                        <a:gd name="T79" fmla="*/ 1096 h 1188"/>
                        <a:gd name="T80" fmla="*/ 0 w 1284"/>
                        <a:gd name="T81" fmla="*/ 1170 h 1188"/>
                        <a:gd name="T82" fmla="*/ 6 w 1284"/>
                        <a:gd name="T83" fmla="*/ 1182 h 1188"/>
                        <a:gd name="T84" fmla="*/ 732 w 1284"/>
                        <a:gd name="T85" fmla="*/ 1188 h 1188"/>
                        <a:gd name="T86" fmla="*/ 744 w 1284"/>
                        <a:gd name="T87" fmla="*/ 1182 h 1188"/>
                        <a:gd name="T88" fmla="*/ 750 w 1284"/>
                        <a:gd name="T89" fmla="*/ 1108 h 1188"/>
                        <a:gd name="T90" fmla="*/ 588 w 1284"/>
                        <a:gd name="T91" fmla="*/ 976 h 1188"/>
                        <a:gd name="T92" fmla="*/ 612 w 1284"/>
                        <a:gd name="T93" fmla="*/ 982 h 1188"/>
                        <a:gd name="T94" fmla="*/ 630 w 1284"/>
                        <a:gd name="T95" fmla="*/ 998 h 1188"/>
                        <a:gd name="T96" fmla="*/ 638 w 1284"/>
                        <a:gd name="T97" fmla="*/ 1052 h 1188"/>
                        <a:gd name="T98" fmla="*/ 112 w 1284"/>
                        <a:gd name="T99" fmla="*/ 1012 h 1188"/>
                        <a:gd name="T100" fmla="*/ 126 w 1284"/>
                        <a:gd name="T101" fmla="*/ 992 h 1188"/>
                        <a:gd name="T102" fmla="*/ 146 w 1284"/>
                        <a:gd name="T103" fmla="*/ 978 h 1188"/>
                        <a:gd name="T104" fmla="*/ 164 w 1284"/>
                        <a:gd name="T105" fmla="*/ 976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84" h="1188">
                          <a:moveTo>
                            <a:pt x="218" y="402"/>
                          </a:moveTo>
                          <a:lnTo>
                            <a:pt x="488" y="116"/>
                          </a:lnTo>
                          <a:lnTo>
                            <a:pt x="674" y="290"/>
                          </a:lnTo>
                          <a:lnTo>
                            <a:pt x="404" y="578"/>
                          </a:lnTo>
                          <a:lnTo>
                            <a:pt x="218" y="402"/>
                          </a:lnTo>
                          <a:close/>
                          <a:moveTo>
                            <a:pt x="706" y="266"/>
                          </a:moveTo>
                          <a:lnTo>
                            <a:pt x="706" y="266"/>
                          </a:lnTo>
                          <a:lnTo>
                            <a:pt x="712" y="270"/>
                          </a:lnTo>
                          <a:lnTo>
                            <a:pt x="718" y="272"/>
                          </a:lnTo>
                          <a:lnTo>
                            <a:pt x="724" y="274"/>
                          </a:lnTo>
                          <a:lnTo>
                            <a:pt x="732" y="274"/>
                          </a:lnTo>
                          <a:lnTo>
                            <a:pt x="738" y="274"/>
                          </a:lnTo>
                          <a:lnTo>
                            <a:pt x="744" y="272"/>
                          </a:lnTo>
                          <a:lnTo>
                            <a:pt x="750" y="268"/>
                          </a:lnTo>
                          <a:lnTo>
                            <a:pt x="756" y="264"/>
                          </a:lnTo>
                          <a:lnTo>
                            <a:pt x="776" y="242"/>
                          </a:lnTo>
                          <a:lnTo>
                            <a:pt x="776" y="242"/>
                          </a:lnTo>
                          <a:lnTo>
                            <a:pt x="780" y="238"/>
                          </a:lnTo>
                          <a:lnTo>
                            <a:pt x="782" y="230"/>
                          </a:lnTo>
                          <a:lnTo>
                            <a:pt x="784" y="224"/>
                          </a:lnTo>
                          <a:lnTo>
                            <a:pt x="786" y="218"/>
                          </a:lnTo>
                          <a:lnTo>
                            <a:pt x="784" y="210"/>
                          </a:lnTo>
                          <a:lnTo>
                            <a:pt x="782" y="204"/>
                          </a:lnTo>
                          <a:lnTo>
                            <a:pt x="778" y="198"/>
                          </a:lnTo>
                          <a:lnTo>
                            <a:pt x="774" y="194"/>
                          </a:lnTo>
                          <a:lnTo>
                            <a:pt x="578" y="10"/>
                          </a:lnTo>
                          <a:lnTo>
                            <a:pt x="578" y="10"/>
                          </a:lnTo>
                          <a:lnTo>
                            <a:pt x="572" y="6"/>
                          </a:lnTo>
                          <a:lnTo>
                            <a:pt x="566" y="2"/>
                          </a:lnTo>
                          <a:lnTo>
                            <a:pt x="560" y="0"/>
                          </a:lnTo>
                          <a:lnTo>
                            <a:pt x="554" y="0"/>
                          </a:lnTo>
                          <a:lnTo>
                            <a:pt x="546" y="0"/>
                          </a:lnTo>
                          <a:lnTo>
                            <a:pt x="540" y="2"/>
                          </a:lnTo>
                          <a:lnTo>
                            <a:pt x="534" y="6"/>
                          </a:lnTo>
                          <a:lnTo>
                            <a:pt x="528" y="12"/>
                          </a:lnTo>
                          <a:lnTo>
                            <a:pt x="510" y="32"/>
                          </a:lnTo>
                          <a:lnTo>
                            <a:pt x="510" y="32"/>
                          </a:lnTo>
                          <a:lnTo>
                            <a:pt x="504" y="38"/>
                          </a:lnTo>
                          <a:lnTo>
                            <a:pt x="502" y="44"/>
                          </a:lnTo>
                          <a:lnTo>
                            <a:pt x="500" y="50"/>
                          </a:lnTo>
                          <a:lnTo>
                            <a:pt x="500" y="58"/>
                          </a:lnTo>
                          <a:lnTo>
                            <a:pt x="500" y="64"/>
                          </a:lnTo>
                          <a:lnTo>
                            <a:pt x="502" y="70"/>
                          </a:lnTo>
                          <a:lnTo>
                            <a:pt x="506" y="76"/>
                          </a:lnTo>
                          <a:lnTo>
                            <a:pt x="510" y="82"/>
                          </a:lnTo>
                          <a:lnTo>
                            <a:pt x="706" y="266"/>
                          </a:lnTo>
                          <a:close/>
                          <a:moveTo>
                            <a:pt x="312" y="684"/>
                          </a:moveTo>
                          <a:lnTo>
                            <a:pt x="312" y="684"/>
                          </a:lnTo>
                          <a:lnTo>
                            <a:pt x="318" y="688"/>
                          </a:lnTo>
                          <a:lnTo>
                            <a:pt x="324" y="690"/>
                          </a:lnTo>
                          <a:lnTo>
                            <a:pt x="332" y="692"/>
                          </a:lnTo>
                          <a:lnTo>
                            <a:pt x="338" y="692"/>
                          </a:lnTo>
                          <a:lnTo>
                            <a:pt x="344" y="692"/>
                          </a:lnTo>
                          <a:lnTo>
                            <a:pt x="350" y="690"/>
                          </a:lnTo>
                          <a:lnTo>
                            <a:pt x="356" y="686"/>
                          </a:lnTo>
                          <a:lnTo>
                            <a:pt x="362" y="682"/>
                          </a:lnTo>
                          <a:lnTo>
                            <a:pt x="382" y="660"/>
                          </a:lnTo>
                          <a:lnTo>
                            <a:pt x="382" y="660"/>
                          </a:lnTo>
                          <a:lnTo>
                            <a:pt x="386" y="656"/>
                          </a:lnTo>
                          <a:lnTo>
                            <a:pt x="390" y="648"/>
                          </a:lnTo>
                          <a:lnTo>
                            <a:pt x="392" y="642"/>
                          </a:lnTo>
                          <a:lnTo>
                            <a:pt x="392" y="636"/>
                          </a:lnTo>
                          <a:lnTo>
                            <a:pt x="390" y="628"/>
                          </a:lnTo>
                          <a:lnTo>
                            <a:pt x="388" y="622"/>
                          </a:lnTo>
                          <a:lnTo>
                            <a:pt x="386" y="616"/>
                          </a:lnTo>
                          <a:lnTo>
                            <a:pt x="380" y="612"/>
                          </a:lnTo>
                          <a:lnTo>
                            <a:pt x="184" y="428"/>
                          </a:lnTo>
                          <a:lnTo>
                            <a:pt x="184" y="428"/>
                          </a:lnTo>
                          <a:lnTo>
                            <a:pt x="180" y="424"/>
                          </a:lnTo>
                          <a:lnTo>
                            <a:pt x="174" y="420"/>
                          </a:lnTo>
                          <a:lnTo>
                            <a:pt x="166" y="418"/>
                          </a:lnTo>
                          <a:lnTo>
                            <a:pt x="160" y="418"/>
                          </a:lnTo>
                          <a:lnTo>
                            <a:pt x="154" y="418"/>
                          </a:lnTo>
                          <a:lnTo>
                            <a:pt x="146" y="420"/>
                          </a:lnTo>
                          <a:lnTo>
                            <a:pt x="140" y="424"/>
                          </a:lnTo>
                          <a:lnTo>
                            <a:pt x="136" y="428"/>
                          </a:lnTo>
                          <a:lnTo>
                            <a:pt x="116" y="450"/>
                          </a:lnTo>
                          <a:lnTo>
                            <a:pt x="116" y="450"/>
                          </a:lnTo>
                          <a:lnTo>
                            <a:pt x="112" y="456"/>
                          </a:lnTo>
                          <a:lnTo>
                            <a:pt x="108" y="462"/>
                          </a:lnTo>
                          <a:lnTo>
                            <a:pt x="106" y="468"/>
                          </a:lnTo>
                          <a:lnTo>
                            <a:pt x="106" y="476"/>
                          </a:lnTo>
                          <a:lnTo>
                            <a:pt x="106" y="482"/>
                          </a:lnTo>
                          <a:lnTo>
                            <a:pt x="110" y="488"/>
                          </a:lnTo>
                          <a:lnTo>
                            <a:pt x="112" y="494"/>
                          </a:lnTo>
                          <a:lnTo>
                            <a:pt x="118" y="500"/>
                          </a:lnTo>
                          <a:lnTo>
                            <a:pt x="312" y="684"/>
                          </a:lnTo>
                          <a:close/>
                          <a:moveTo>
                            <a:pt x="528" y="504"/>
                          </a:moveTo>
                          <a:lnTo>
                            <a:pt x="1174" y="1110"/>
                          </a:lnTo>
                          <a:lnTo>
                            <a:pt x="1174" y="1110"/>
                          </a:lnTo>
                          <a:lnTo>
                            <a:pt x="1184" y="1120"/>
                          </a:lnTo>
                          <a:lnTo>
                            <a:pt x="1194" y="1126"/>
                          </a:lnTo>
                          <a:lnTo>
                            <a:pt x="1204" y="1130"/>
                          </a:lnTo>
                          <a:lnTo>
                            <a:pt x="1216" y="1134"/>
                          </a:lnTo>
                          <a:lnTo>
                            <a:pt x="1226" y="1136"/>
                          </a:lnTo>
                          <a:lnTo>
                            <a:pt x="1234" y="1134"/>
                          </a:lnTo>
                          <a:lnTo>
                            <a:pt x="1242" y="1132"/>
                          </a:lnTo>
                          <a:lnTo>
                            <a:pt x="1248" y="1126"/>
                          </a:lnTo>
                          <a:lnTo>
                            <a:pt x="1276" y="1098"/>
                          </a:lnTo>
                          <a:lnTo>
                            <a:pt x="1276" y="1098"/>
                          </a:lnTo>
                          <a:lnTo>
                            <a:pt x="1280" y="1090"/>
                          </a:lnTo>
                          <a:lnTo>
                            <a:pt x="1284" y="1082"/>
                          </a:lnTo>
                          <a:lnTo>
                            <a:pt x="1284" y="1074"/>
                          </a:lnTo>
                          <a:lnTo>
                            <a:pt x="1282" y="1064"/>
                          </a:lnTo>
                          <a:lnTo>
                            <a:pt x="1278" y="1054"/>
                          </a:lnTo>
                          <a:lnTo>
                            <a:pt x="1272" y="1044"/>
                          </a:lnTo>
                          <a:lnTo>
                            <a:pt x="1264" y="1032"/>
                          </a:lnTo>
                          <a:lnTo>
                            <a:pt x="1256" y="1024"/>
                          </a:lnTo>
                          <a:lnTo>
                            <a:pt x="610" y="416"/>
                          </a:lnTo>
                          <a:lnTo>
                            <a:pt x="528" y="504"/>
                          </a:lnTo>
                          <a:close/>
                          <a:moveTo>
                            <a:pt x="750" y="1108"/>
                          </a:moveTo>
                          <a:lnTo>
                            <a:pt x="750" y="1108"/>
                          </a:lnTo>
                          <a:lnTo>
                            <a:pt x="748" y="1102"/>
                          </a:lnTo>
                          <a:lnTo>
                            <a:pt x="744" y="1096"/>
                          </a:lnTo>
                          <a:lnTo>
                            <a:pt x="738" y="1094"/>
                          </a:lnTo>
                          <a:lnTo>
                            <a:pt x="732" y="1092"/>
                          </a:lnTo>
                          <a:lnTo>
                            <a:pt x="18" y="1092"/>
                          </a:lnTo>
                          <a:lnTo>
                            <a:pt x="18" y="1092"/>
                          </a:lnTo>
                          <a:lnTo>
                            <a:pt x="12" y="1094"/>
                          </a:lnTo>
                          <a:lnTo>
                            <a:pt x="6" y="1096"/>
                          </a:lnTo>
                          <a:lnTo>
                            <a:pt x="2" y="1102"/>
                          </a:lnTo>
                          <a:lnTo>
                            <a:pt x="0" y="1108"/>
                          </a:lnTo>
                          <a:lnTo>
                            <a:pt x="0" y="1170"/>
                          </a:lnTo>
                          <a:lnTo>
                            <a:pt x="0" y="1170"/>
                          </a:lnTo>
                          <a:lnTo>
                            <a:pt x="2" y="1176"/>
                          </a:lnTo>
                          <a:lnTo>
                            <a:pt x="6" y="1182"/>
                          </a:lnTo>
                          <a:lnTo>
                            <a:pt x="12" y="1186"/>
                          </a:lnTo>
                          <a:lnTo>
                            <a:pt x="18" y="1188"/>
                          </a:lnTo>
                          <a:lnTo>
                            <a:pt x="732" y="1188"/>
                          </a:lnTo>
                          <a:lnTo>
                            <a:pt x="732" y="1188"/>
                          </a:lnTo>
                          <a:lnTo>
                            <a:pt x="738" y="1186"/>
                          </a:lnTo>
                          <a:lnTo>
                            <a:pt x="744" y="1182"/>
                          </a:lnTo>
                          <a:lnTo>
                            <a:pt x="748" y="1176"/>
                          </a:lnTo>
                          <a:lnTo>
                            <a:pt x="750" y="1170"/>
                          </a:lnTo>
                          <a:lnTo>
                            <a:pt x="750" y="1108"/>
                          </a:lnTo>
                          <a:close/>
                          <a:moveTo>
                            <a:pt x="164" y="976"/>
                          </a:moveTo>
                          <a:lnTo>
                            <a:pt x="588" y="976"/>
                          </a:lnTo>
                          <a:lnTo>
                            <a:pt x="588" y="976"/>
                          </a:lnTo>
                          <a:lnTo>
                            <a:pt x="596" y="976"/>
                          </a:lnTo>
                          <a:lnTo>
                            <a:pt x="604" y="978"/>
                          </a:lnTo>
                          <a:lnTo>
                            <a:pt x="612" y="982"/>
                          </a:lnTo>
                          <a:lnTo>
                            <a:pt x="620" y="986"/>
                          </a:lnTo>
                          <a:lnTo>
                            <a:pt x="626" y="992"/>
                          </a:lnTo>
                          <a:lnTo>
                            <a:pt x="630" y="998"/>
                          </a:lnTo>
                          <a:lnTo>
                            <a:pt x="636" y="1004"/>
                          </a:lnTo>
                          <a:lnTo>
                            <a:pt x="638" y="1012"/>
                          </a:lnTo>
                          <a:lnTo>
                            <a:pt x="638" y="1052"/>
                          </a:lnTo>
                          <a:lnTo>
                            <a:pt x="112" y="1052"/>
                          </a:lnTo>
                          <a:lnTo>
                            <a:pt x="112" y="1012"/>
                          </a:lnTo>
                          <a:lnTo>
                            <a:pt x="112" y="1012"/>
                          </a:lnTo>
                          <a:lnTo>
                            <a:pt x="116" y="1004"/>
                          </a:lnTo>
                          <a:lnTo>
                            <a:pt x="120" y="998"/>
                          </a:lnTo>
                          <a:lnTo>
                            <a:pt x="126" y="992"/>
                          </a:lnTo>
                          <a:lnTo>
                            <a:pt x="132" y="986"/>
                          </a:lnTo>
                          <a:lnTo>
                            <a:pt x="138" y="982"/>
                          </a:lnTo>
                          <a:lnTo>
                            <a:pt x="146" y="978"/>
                          </a:lnTo>
                          <a:lnTo>
                            <a:pt x="154" y="976"/>
                          </a:lnTo>
                          <a:lnTo>
                            <a:pt x="164" y="976"/>
                          </a:lnTo>
                          <a:lnTo>
                            <a:pt x="164" y="97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4" name="TextBox 17">
                      <a:extLst>
                        <a:ext uri="{FF2B5EF4-FFF2-40B4-BE49-F238E27FC236}">
                          <a16:creationId xmlns:a16="http://schemas.microsoft.com/office/drawing/2014/main" id="{9807AB62-6336-4775-8F5A-26CBACF6ED4E}"/>
                        </a:ext>
                      </a:extLst>
                    </p:cNvPr>
                    <p:cNvSpPr txBox="1"/>
                    <p:nvPr/>
                  </p:nvSpPr>
                  <p:spPr>
                    <a:xfrm>
                      <a:off x="10496620" y="7311989"/>
                      <a:ext cx="1137579" cy="4615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ả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ý</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hô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Tin</a:t>
                      </a:r>
                    </a:p>
                  </p:txBody>
                </p:sp>
                <p:sp>
                  <p:nvSpPr>
                    <p:cNvPr id="65" name="Freeform 103">
                      <a:extLst>
                        <a:ext uri="{FF2B5EF4-FFF2-40B4-BE49-F238E27FC236}">
                          <a16:creationId xmlns:a16="http://schemas.microsoft.com/office/drawing/2014/main" id="{6F106F09-5727-497A-917C-B269036CC5E6}"/>
                        </a:ext>
                      </a:extLst>
                    </p:cNvPr>
                    <p:cNvSpPr>
                      <a:spLocks noChangeAspect="1" noEditPoints="1"/>
                    </p:cNvSpPr>
                    <p:nvPr/>
                  </p:nvSpPr>
                  <p:spPr bwMode="auto">
                    <a:xfrm>
                      <a:off x="13389111" y="7345029"/>
                      <a:ext cx="320864" cy="352951"/>
                    </a:xfrm>
                    <a:custGeom>
                      <a:avLst/>
                      <a:gdLst>
                        <a:gd name="T0" fmla="*/ 826 w 918"/>
                        <a:gd name="T1" fmla="*/ 498 h 918"/>
                        <a:gd name="T2" fmla="*/ 740 w 918"/>
                        <a:gd name="T3" fmla="*/ 422 h 918"/>
                        <a:gd name="T4" fmla="*/ 540 w 918"/>
                        <a:gd name="T5" fmla="*/ 408 h 918"/>
                        <a:gd name="T6" fmla="*/ 506 w 918"/>
                        <a:gd name="T7" fmla="*/ 226 h 918"/>
                        <a:gd name="T8" fmla="*/ 570 w 918"/>
                        <a:gd name="T9" fmla="*/ 152 h 918"/>
                        <a:gd name="T10" fmla="*/ 556 w 918"/>
                        <a:gd name="T11" fmla="*/ 52 h 918"/>
                        <a:gd name="T12" fmla="*/ 460 w 918"/>
                        <a:gd name="T13" fmla="*/ 0 h 918"/>
                        <a:gd name="T14" fmla="*/ 352 w 918"/>
                        <a:gd name="T15" fmla="*/ 72 h 918"/>
                        <a:gd name="T16" fmla="*/ 354 w 918"/>
                        <a:gd name="T17" fmla="*/ 168 h 918"/>
                        <a:gd name="T18" fmla="*/ 412 w 918"/>
                        <a:gd name="T19" fmla="*/ 362 h 918"/>
                        <a:gd name="T20" fmla="*/ 338 w 918"/>
                        <a:gd name="T21" fmla="*/ 412 h 918"/>
                        <a:gd name="T22" fmla="*/ 146 w 918"/>
                        <a:gd name="T23" fmla="*/ 438 h 918"/>
                        <a:gd name="T24" fmla="*/ 80 w 918"/>
                        <a:gd name="T25" fmla="*/ 526 h 918"/>
                        <a:gd name="T26" fmla="*/ 30 w 918"/>
                        <a:gd name="T27" fmla="*/ 722 h 918"/>
                        <a:gd name="T28" fmla="*/ 0 w 918"/>
                        <a:gd name="T29" fmla="*/ 812 h 918"/>
                        <a:gd name="T30" fmla="*/ 94 w 918"/>
                        <a:gd name="T31" fmla="*/ 916 h 918"/>
                        <a:gd name="T32" fmla="*/ 182 w 918"/>
                        <a:gd name="T33" fmla="*/ 898 h 918"/>
                        <a:gd name="T34" fmla="*/ 234 w 918"/>
                        <a:gd name="T35" fmla="*/ 800 h 918"/>
                        <a:gd name="T36" fmla="*/ 178 w 918"/>
                        <a:gd name="T37" fmla="*/ 702 h 918"/>
                        <a:gd name="T38" fmla="*/ 184 w 918"/>
                        <a:gd name="T39" fmla="*/ 526 h 918"/>
                        <a:gd name="T40" fmla="*/ 338 w 918"/>
                        <a:gd name="T41" fmla="*/ 506 h 918"/>
                        <a:gd name="T42" fmla="*/ 412 w 918"/>
                        <a:gd name="T43" fmla="*/ 694 h 918"/>
                        <a:gd name="T44" fmla="*/ 344 w 918"/>
                        <a:gd name="T45" fmla="*/ 784 h 918"/>
                        <a:gd name="T46" fmla="*/ 376 w 918"/>
                        <a:gd name="T47" fmla="*/ 884 h 918"/>
                        <a:gd name="T48" fmla="*/ 470 w 918"/>
                        <a:gd name="T49" fmla="*/ 918 h 918"/>
                        <a:gd name="T50" fmla="*/ 574 w 918"/>
                        <a:gd name="T51" fmla="*/ 824 h 918"/>
                        <a:gd name="T52" fmla="*/ 556 w 918"/>
                        <a:gd name="T53" fmla="*/ 736 h 918"/>
                        <a:gd name="T54" fmla="*/ 522 w 918"/>
                        <a:gd name="T55" fmla="*/ 498 h 918"/>
                        <a:gd name="T56" fmla="*/ 702 w 918"/>
                        <a:gd name="T57" fmla="*/ 508 h 918"/>
                        <a:gd name="T58" fmla="*/ 754 w 918"/>
                        <a:gd name="T59" fmla="*/ 582 h 918"/>
                        <a:gd name="T60" fmla="*/ 694 w 918"/>
                        <a:gd name="T61" fmla="*/ 750 h 918"/>
                        <a:gd name="T62" fmla="*/ 692 w 918"/>
                        <a:gd name="T63" fmla="*/ 846 h 918"/>
                        <a:gd name="T64" fmla="*/ 800 w 918"/>
                        <a:gd name="T65" fmla="*/ 918 h 918"/>
                        <a:gd name="T66" fmla="*/ 898 w 918"/>
                        <a:gd name="T67" fmla="*/ 866 h 918"/>
                        <a:gd name="T68" fmla="*/ 912 w 918"/>
                        <a:gd name="T69" fmla="*/ 766 h 918"/>
                        <a:gd name="T70" fmla="*/ 848 w 918"/>
                        <a:gd name="T71" fmla="*/ 694 h 918"/>
                        <a:gd name="T72" fmla="*/ 156 w 918"/>
                        <a:gd name="T73" fmla="*/ 856 h 918"/>
                        <a:gd name="T74" fmla="*/ 80 w 918"/>
                        <a:gd name="T75" fmla="*/ 856 h 918"/>
                        <a:gd name="T76" fmla="*/ 52 w 918"/>
                        <a:gd name="T77" fmla="*/ 788 h 918"/>
                        <a:gd name="T78" fmla="*/ 118 w 918"/>
                        <a:gd name="T79" fmla="*/ 734 h 918"/>
                        <a:gd name="T80" fmla="*/ 180 w 918"/>
                        <a:gd name="T81" fmla="*/ 774 h 918"/>
                        <a:gd name="T82" fmla="*/ 396 w 918"/>
                        <a:gd name="T83" fmla="*/ 92 h 918"/>
                        <a:gd name="T84" fmla="*/ 460 w 918"/>
                        <a:gd name="T85" fmla="*/ 50 h 918"/>
                        <a:gd name="T86" fmla="*/ 526 w 918"/>
                        <a:gd name="T87" fmla="*/ 104 h 918"/>
                        <a:gd name="T88" fmla="*/ 496 w 918"/>
                        <a:gd name="T89" fmla="*/ 174 h 918"/>
                        <a:gd name="T90" fmla="*/ 422 w 918"/>
                        <a:gd name="T91" fmla="*/ 174 h 918"/>
                        <a:gd name="T92" fmla="*/ 526 w 918"/>
                        <a:gd name="T93" fmla="*/ 800 h 918"/>
                        <a:gd name="T94" fmla="*/ 486 w 918"/>
                        <a:gd name="T95" fmla="*/ 864 h 918"/>
                        <a:gd name="T96" fmla="*/ 412 w 918"/>
                        <a:gd name="T97" fmla="*/ 848 h 918"/>
                        <a:gd name="T98" fmla="*/ 396 w 918"/>
                        <a:gd name="T99" fmla="*/ 774 h 918"/>
                        <a:gd name="T100" fmla="*/ 460 w 918"/>
                        <a:gd name="T101" fmla="*/ 734 h 918"/>
                        <a:gd name="T102" fmla="*/ 526 w 918"/>
                        <a:gd name="T103" fmla="*/ 788 h 918"/>
                        <a:gd name="T104" fmla="*/ 762 w 918"/>
                        <a:gd name="T105" fmla="*/ 856 h 918"/>
                        <a:gd name="T106" fmla="*/ 734 w 918"/>
                        <a:gd name="T107" fmla="*/ 788 h 918"/>
                        <a:gd name="T108" fmla="*/ 800 w 918"/>
                        <a:gd name="T109" fmla="*/ 734 h 918"/>
                        <a:gd name="T110" fmla="*/ 862 w 918"/>
                        <a:gd name="T111" fmla="*/ 774 h 918"/>
                        <a:gd name="T112" fmla="*/ 848 w 918"/>
                        <a:gd name="T113" fmla="*/ 848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8" h="918">
                          <a:moveTo>
                            <a:pt x="848" y="694"/>
                          </a:moveTo>
                          <a:lnTo>
                            <a:pt x="848" y="582"/>
                          </a:lnTo>
                          <a:lnTo>
                            <a:pt x="848" y="582"/>
                          </a:lnTo>
                          <a:lnTo>
                            <a:pt x="844" y="554"/>
                          </a:lnTo>
                          <a:lnTo>
                            <a:pt x="838" y="526"/>
                          </a:lnTo>
                          <a:lnTo>
                            <a:pt x="832" y="512"/>
                          </a:lnTo>
                          <a:lnTo>
                            <a:pt x="826" y="498"/>
                          </a:lnTo>
                          <a:lnTo>
                            <a:pt x="818" y="484"/>
                          </a:lnTo>
                          <a:lnTo>
                            <a:pt x="810" y="472"/>
                          </a:lnTo>
                          <a:lnTo>
                            <a:pt x="798" y="460"/>
                          </a:lnTo>
                          <a:lnTo>
                            <a:pt x="786" y="448"/>
                          </a:lnTo>
                          <a:lnTo>
                            <a:pt x="772" y="438"/>
                          </a:lnTo>
                          <a:lnTo>
                            <a:pt x="758" y="430"/>
                          </a:lnTo>
                          <a:lnTo>
                            <a:pt x="740" y="422"/>
                          </a:lnTo>
                          <a:lnTo>
                            <a:pt x="722" y="418"/>
                          </a:lnTo>
                          <a:lnTo>
                            <a:pt x="700" y="414"/>
                          </a:lnTo>
                          <a:lnTo>
                            <a:pt x="678" y="412"/>
                          </a:lnTo>
                          <a:lnTo>
                            <a:pt x="582" y="412"/>
                          </a:lnTo>
                          <a:lnTo>
                            <a:pt x="582" y="412"/>
                          </a:lnTo>
                          <a:lnTo>
                            <a:pt x="558" y="412"/>
                          </a:lnTo>
                          <a:lnTo>
                            <a:pt x="540" y="408"/>
                          </a:lnTo>
                          <a:lnTo>
                            <a:pt x="526" y="402"/>
                          </a:lnTo>
                          <a:lnTo>
                            <a:pt x="518" y="394"/>
                          </a:lnTo>
                          <a:lnTo>
                            <a:pt x="512" y="386"/>
                          </a:lnTo>
                          <a:lnTo>
                            <a:pt x="508" y="376"/>
                          </a:lnTo>
                          <a:lnTo>
                            <a:pt x="506" y="368"/>
                          </a:lnTo>
                          <a:lnTo>
                            <a:pt x="506" y="362"/>
                          </a:lnTo>
                          <a:lnTo>
                            <a:pt x="506" y="226"/>
                          </a:lnTo>
                          <a:lnTo>
                            <a:pt x="506" y="226"/>
                          </a:lnTo>
                          <a:lnTo>
                            <a:pt x="520" y="218"/>
                          </a:lnTo>
                          <a:lnTo>
                            <a:pt x="534" y="208"/>
                          </a:lnTo>
                          <a:lnTo>
                            <a:pt x="546" y="196"/>
                          </a:lnTo>
                          <a:lnTo>
                            <a:pt x="556" y="182"/>
                          </a:lnTo>
                          <a:lnTo>
                            <a:pt x="564" y="168"/>
                          </a:lnTo>
                          <a:lnTo>
                            <a:pt x="570" y="152"/>
                          </a:lnTo>
                          <a:lnTo>
                            <a:pt x="574" y="136"/>
                          </a:lnTo>
                          <a:lnTo>
                            <a:pt x="576" y="118"/>
                          </a:lnTo>
                          <a:lnTo>
                            <a:pt x="576" y="118"/>
                          </a:lnTo>
                          <a:lnTo>
                            <a:pt x="576" y="106"/>
                          </a:lnTo>
                          <a:lnTo>
                            <a:pt x="574" y="94"/>
                          </a:lnTo>
                          <a:lnTo>
                            <a:pt x="566" y="72"/>
                          </a:lnTo>
                          <a:lnTo>
                            <a:pt x="556" y="52"/>
                          </a:lnTo>
                          <a:lnTo>
                            <a:pt x="542" y="34"/>
                          </a:lnTo>
                          <a:lnTo>
                            <a:pt x="524" y="20"/>
                          </a:lnTo>
                          <a:lnTo>
                            <a:pt x="504" y="10"/>
                          </a:lnTo>
                          <a:lnTo>
                            <a:pt x="482" y="2"/>
                          </a:lnTo>
                          <a:lnTo>
                            <a:pt x="470" y="2"/>
                          </a:lnTo>
                          <a:lnTo>
                            <a:pt x="460" y="0"/>
                          </a:lnTo>
                          <a:lnTo>
                            <a:pt x="460" y="0"/>
                          </a:lnTo>
                          <a:lnTo>
                            <a:pt x="448" y="2"/>
                          </a:lnTo>
                          <a:lnTo>
                            <a:pt x="436" y="2"/>
                          </a:lnTo>
                          <a:lnTo>
                            <a:pt x="414" y="10"/>
                          </a:lnTo>
                          <a:lnTo>
                            <a:pt x="394" y="20"/>
                          </a:lnTo>
                          <a:lnTo>
                            <a:pt x="376" y="34"/>
                          </a:lnTo>
                          <a:lnTo>
                            <a:pt x="362" y="52"/>
                          </a:lnTo>
                          <a:lnTo>
                            <a:pt x="352" y="72"/>
                          </a:lnTo>
                          <a:lnTo>
                            <a:pt x="344" y="94"/>
                          </a:lnTo>
                          <a:lnTo>
                            <a:pt x="342" y="106"/>
                          </a:lnTo>
                          <a:lnTo>
                            <a:pt x="342" y="118"/>
                          </a:lnTo>
                          <a:lnTo>
                            <a:pt x="342" y="118"/>
                          </a:lnTo>
                          <a:lnTo>
                            <a:pt x="344" y="136"/>
                          </a:lnTo>
                          <a:lnTo>
                            <a:pt x="348" y="152"/>
                          </a:lnTo>
                          <a:lnTo>
                            <a:pt x="354" y="168"/>
                          </a:lnTo>
                          <a:lnTo>
                            <a:pt x="362" y="182"/>
                          </a:lnTo>
                          <a:lnTo>
                            <a:pt x="372" y="196"/>
                          </a:lnTo>
                          <a:lnTo>
                            <a:pt x="384" y="208"/>
                          </a:lnTo>
                          <a:lnTo>
                            <a:pt x="398" y="218"/>
                          </a:lnTo>
                          <a:lnTo>
                            <a:pt x="412" y="226"/>
                          </a:lnTo>
                          <a:lnTo>
                            <a:pt x="412" y="362"/>
                          </a:lnTo>
                          <a:lnTo>
                            <a:pt x="412" y="362"/>
                          </a:lnTo>
                          <a:lnTo>
                            <a:pt x="412" y="374"/>
                          </a:lnTo>
                          <a:lnTo>
                            <a:pt x="408" y="384"/>
                          </a:lnTo>
                          <a:lnTo>
                            <a:pt x="402" y="392"/>
                          </a:lnTo>
                          <a:lnTo>
                            <a:pt x="392" y="400"/>
                          </a:lnTo>
                          <a:lnTo>
                            <a:pt x="380" y="406"/>
                          </a:lnTo>
                          <a:lnTo>
                            <a:pt x="360" y="412"/>
                          </a:lnTo>
                          <a:lnTo>
                            <a:pt x="338" y="412"/>
                          </a:lnTo>
                          <a:lnTo>
                            <a:pt x="240" y="412"/>
                          </a:lnTo>
                          <a:lnTo>
                            <a:pt x="240" y="412"/>
                          </a:lnTo>
                          <a:lnTo>
                            <a:pt x="218" y="414"/>
                          </a:lnTo>
                          <a:lnTo>
                            <a:pt x="196" y="418"/>
                          </a:lnTo>
                          <a:lnTo>
                            <a:pt x="178" y="422"/>
                          </a:lnTo>
                          <a:lnTo>
                            <a:pt x="160" y="430"/>
                          </a:lnTo>
                          <a:lnTo>
                            <a:pt x="146" y="438"/>
                          </a:lnTo>
                          <a:lnTo>
                            <a:pt x="132" y="448"/>
                          </a:lnTo>
                          <a:lnTo>
                            <a:pt x="120" y="460"/>
                          </a:lnTo>
                          <a:lnTo>
                            <a:pt x="108" y="472"/>
                          </a:lnTo>
                          <a:lnTo>
                            <a:pt x="100" y="484"/>
                          </a:lnTo>
                          <a:lnTo>
                            <a:pt x="92" y="498"/>
                          </a:lnTo>
                          <a:lnTo>
                            <a:pt x="86" y="512"/>
                          </a:lnTo>
                          <a:lnTo>
                            <a:pt x="80" y="526"/>
                          </a:lnTo>
                          <a:lnTo>
                            <a:pt x="74" y="554"/>
                          </a:lnTo>
                          <a:lnTo>
                            <a:pt x="72" y="582"/>
                          </a:lnTo>
                          <a:lnTo>
                            <a:pt x="72" y="694"/>
                          </a:lnTo>
                          <a:lnTo>
                            <a:pt x="72" y="694"/>
                          </a:lnTo>
                          <a:lnTo>
                            <a:pt x="56" y="702"/>
                          </a:lnTo>
                          <a:lnTo>
                            <a:pt x="42" y="710"/>
                          </a:lnTo>
                          <a:lnTo>
                            <a:pt x="30" y="722"/>
                          </a:lnTo>
                          <a:lnTo>
                            <a:pt x="20" y="736"/>
                          </a:lnTo>
                          <a:lnTo>
                            <a:pt x="12" y="750"/>
                          </a:lnTo>
                          <a:lnTo>
                            <a:pt x="6" y="766"/>
                          </a:lnTo>
                          <a:lnTo>
                            <a:pt x="2" y="784"/>
                          </a:lnTo>
                          <a:lnTo>
                            <a:pt x="0" y="800"/>
                          </a:lnTo>
                          <a:lnTo>
                            <a:pt x="0" y="800"/>
                          </a:lnTo>
                          <a:lnTo>
                            <a:pt x="0" y="812"/>
                          </a:lnTo>
                          <a:lnTo>
                            <a:pt x="2" y="824"/>
                          </a:lnTo>
                          <a:lnTo>
                            <a:pt x="10" y="846"/>
                          </a:lnTo>
                          <a:lnTo>
                            <a:pt x="20" y="866"/>
                          </a:lnTo>
                          <a:lnTo>
                            <a:pt x="34" y="884"/>
                          </a:lnTo>
                          <a:lnTo>
                            <a:pt x="52" y="898"/>
                          </a:lnTo>
                          <a:lnTo>
                            <a:pt x="72" y="908"/>
                          </a:lnTo>
                          <a:lnTo>
                            <a:pt x="94" y="916"/>
                          </a:lnTo>
                          <a:lnTo>
                            <a:pt x="106" y="918"/>
                          </a:lnTo>
                          <a:lnTo>
                            <a:pt x="118" y="918"/>
                          </a:lnTo>
                          <a:lnTo>
                            <a:pt x="118" y="918"/>
                          </a:lnTo>
                          <a:lnTo>
                            <a:pt x="130" y="918"/>
                          </a:lnTo>
                          <a:lnTo>
                            <a:pt x="142" y="916"/>
                          </a:lnTo>
                          <a:lnTo>
                            <a:pt x="164" y="908"/>
                          </a:lnTo>
                          <a:lnTo>
                            <a:pt x="182" y="898"/>
                          </a:lnTo>
                          <a:lnTo>
                            <a:pt x="200" y="884"/>
                          </a:lnTo>
                          <a:lnTo>
                            <a:pt x="214" y="866"/>
                          </a:lnTo>
                          <a:lnTo>
                            <a:pt x="226" y="846"/>
                          </a:lnTo>
                          <a:lnTo>
                            <a:pt x="232" y="824"/>
                          </a:lnTo>
                          <a:lnTo>
                            <a:pt x="234" y="812"/>
                          </a:lnTo>
                          <a:lnTo>
                            <a:pt x="234" y="800"/>
                          </a:lnTo>
                          <a:lnTo>
                            <a:pt x="234" y="800"/>
                          </a:lnTo>
                          <a:lnTo>
                            <a:pt x="234" y="784"/>
                          </a:lnTo>
                          <a:lnTo>
                            <a:pt x="230" y="766"/>
                          </a:lnTo>
                          <a:lnTo>
                            <a:pt x="224" y="750"/>
                          </a:lnTo>
                          <a:lnTo>
                            <a:pt x="214" y="736"/>
                          </a:lnTo>
                          <a:lnTo>
                            <a:pt x="204" y="722"/>
                          </a:lnTo>
                          <a:lnTo>
                            <a:pt x="192" y="710"/>
                          </a:lnTo>
                          <a:lnTo>
                            <a:pt x="178" y="702"/>
                          </a:lnTo>
                          <a:lnTo>
                            <a:pt x="164" y="694"/>
                          </a:lnTo>
                          <a:lnTo>
                            <a:pt x="164" y="582"/>
                          </a:lnTo>
                          <a:lnTo>
                            <a:pt x="164" y="582"/>
                          </a:lnTo>
                          <a:lnTo>
                            <a:pt x="166" y="564"/>
                          </a:lnTo>
                          <a:lnTo>
                            <a:pt x="168" y="552"/>
                          </a:lnTo>
                          <a:lnTo>
                            <a:pt x="174" y="538"/>
                          </a:lnTo>
                          <a:lnTo>
                            <a:pt x="184" y="526"/>
                          </a:lnTo>
                          <a:lnTo>
                            <a:pt x="190" y="520"/>
                          </a:lnTo>
                          <a:lnTo>
                            <a:pt x="198" y="516"/>
                          </a:lnTo>
                          <a:lnTo>
                            <a:pt x="206" y="512"/>
                          </a:lnTo>
                          <a:lnTo>
                            <a:pt x="216" y="508"/>
                          </a:lnTo>
                          <a:lnTo>
                            <a:pt x="226" y="506"/>
                          </a:lnTo>
                          <a:lnTo>
                            <a:pt x="240" y="506"/>
                          </a:lnTo>
                          <a:lnTo>
                            <a:pt x="338" y="506"/>
                          </a:lnTo>
                          <a:lnTo>
                            <a:pt x="338" y="506"/>
                          </a:lnTo>
                          <a:lnTo>
                            <a:pt x="358" y="504"/>
                          </a:lnTo>
                          <a:lnTo>
                            <a:pt x="378" y="502"/>
                          </a:lnTo>
                          <a:lnTo>
                            <a:pt x="396" y="498"/>
                          </a:lnTo>
                          <a:lnTo>
                            <a:pt x="412" y="494"/>
                          </a:lnTo>
                          <a:lnTo>
                            <a:pt x="412" y="694"/>
                          </a:lnTo>
                          <a:lnTo>
                            <a:pt x="412" y="694"/>
                          </a:lnTo>
                          <a:lnTo>
                            <a:pt x="398" y="702"/>
                          </a:lnTo>
                          <a:lnTo>
                            <a:pt x="384" y="710"/>
                          </a:lnTo>
                          <a:lnTo>
                            <a:pt x="372" y="722"/>
                          </a:lnTo>
                          <a:lnTo>
                            <a:pt x="362" y="736"/>
                          </a:lnTo>
                          <a:lnTo>
                            <a:pt x="354" y="750"/>
                          </a:lnTo>
                          <a:lnTo>
                            <a:pt x="348" y="766"/>
                          </a:lnTo>
                          <a:lnTo>
                            <a:pt x="344" y="784"/>
                          </a:lnTo>
                          <a:lnTo>
                            <a:pt x="342" y="800"/>
                          </a:lnTo>
                          <a:lnTo>
                            <a:pt x="342" y="800"/>
                          </a:lnTo>
                          <a:lnTo>
                            <a:pt x="342" y="812"/>
                          </a:lnTo>
                          <a:lnTo>
                            <a:pt x="344" y="824"/>
                          </a:lnTo>
                          <a:lnTo>
                            <a:pt x="352" y="846"/>
                          </a:lnTo>
                          <a:lnTo>
                            <a:pt x="362" y="866"/>
                          </a:lnTo>
                          <a:lnTo>
                            <a:pt x="376" y="884"/>
                          </a:lnTo>
                          <a:lnTo>
                            <a:pt x="394" y="898"/>
                          </a:lnTo>
                          <a:lnTo>
                            <a:pt x="414" y="908"/>
                          </a:lnTo>
                          <a:lnTo>
                            <a:pt x="436" y="916"/>
                          </a:lnTo>
                          <a:lnTo>
                            <a:pt x="448" y="918"/>
                          </a:lnTo>
                          <a:lnTo>
                            <a:pt x="460" y="918"/>
                          </a:lnTo>
                          <a:lnTo>
                            <a:pt x="460" y="918"/>
                          </a:lnTo>
                          <a:lnTo>
                            <a:pt x="470" y="918"/>
                          </a:lnTo>
                          <a:lnTo>
                            <a:pt x="482" y="916"/>
                          </a:lnTo>
                          <a:lnTo>
                            <a:pt x="504" y="908"/>
                          </a:lnTo>
                          <a:lnTo>
                            <a:pt x="524" y="898"/>
                          </a:lnTo>
                          <a:lnTo>
                            <a:pt x="542" y="884"/>
                          </a:lnTo>
                          <a:lnTo>
                            <a:pt x="556" y="866"/>
                          </a:lnTo>
                          <a:lnTo>
                            <a:pt x="566" y="846"/>
                          </a:lnTo>
                          <a:lnTo>
                            <a:pt x="574" y="824"/>
                          </a:lnTo>
                          <a:lnTo>
                            <a:pt x="576" y="812"/>
                          </a:lnTo>
                          <a:lnTo>
                            <a:pt x="576" y="800"/>
                          </a:lnTo>
                          <a:lnTo>
                            <a:pt x="576" y="800"/>
                          </a:lnTo>
                          <a:lnTo>
                            <a:pt x="574" y="784"/>
                          </a:lnTo>
                          <a:lnTo>
                            <a:pt x="570" y="766"/>
                          </a:lnTo>
                          <a:lnTo>
                            <a:pt x="564" y="750"/>
                          </a:lnTo>
                          <a:lnTo>
                            <a:pt x="556" y="736"/>
                          </a:lnTo>
                          <a:lnTo>
                            <a:pt x="546" y="722"/>
                          </a:lnTo>
                          <a:lnTo>
                            <a:pt x="534" y="710"/>
                          </a:lnTo>
                          <a:lnTo>
                            <a:pt x="520" y="702"/>
                          </a:lnTo>
                          <a:lnTo>
                            <a:pt x="506" y="694"/>
                          </a:lnTo>
                          <a:lnTo>
                            <a:pt x="506" y="494"/>
                          </a:lnTo>
                          <a:lnTo>
                            <a:pt x="506" y="494"/>
                          </a:lnTo>
                          <a:lnTo>
                            <a:pt x="522" y="498"/>
                          </a:lnTo>
                          <a:lnTo>
                            <a:pt x="540" y="502"/>
                          </a:lnTo>
                          <a:lnTo>
                            <a:pt x="560" y="504"/>
                          </a:lnTo>
                          <a:lnTo>
                            <a:pt x="582" y="506"/>
                          </a:lnTo>
                          <a:lnTo>
                            <a:pt x="678" y="506"/>
                          </a:lnTo>
                          <a:lnTo>
                            <a:pt x="678" y="506"/>
                          </a:lnTo>
                          <a:lnTo>
                            <a:pt x="690" y="506"/>
                          </a:lnTo>
                          <a:lnTo>
                            <a:pt x="702" y="508"/>
                          </a:lnTo>
                          <a:lnTo>
                            <a:pt x="712" y="512"/>
                          </a:lnTo>
                          <a:lnTo>
                            <a:pt x="720" y="514"/>
                          </a:lnTo>
                          <a:lnTo>
                            <a:pt x="732" y="524"/>
                          </a:lnTo>
                          <a:lnTo>
                            <a:pt x="742" y="536"/>
                          </a:lnTo>
                          <a:lnTo>
                            <a:pt x="748" y="550"/>
                          </a:lnTo>
                          <a:lnTo>
                            <a:pt x="752" y="562"/>
                          </a:lnTo>
                          <a:lnTo>
                            <a:pt x="754" y="582"/>
                          </a:lnTo>
                          <a:lnTo>
                            <a:pt x="754" y="694"/>
                          </a:lnTo>
                          <a:lnTo>
                            <a:pt x="754" y="694"/>
                          </a:lnTo>
                          <a:lnTo>
                            <a:pt x="740" y="702"/>
                          </a:lnTo>
                          <a:lnTo>
                            <a:pt x="726" y="710"/>
                          </a:lnTo>
                          <a:lnTo>
                            <a:pt x="714" y="722"/>
                          </a:lnTo>
                          <a:lnTo>
                            <a:pt x="704" y="736"/>
                          </a:lnTo>
                          <a:lnTo>
                            <a:pt x="694" y="750"/>
                          </a:lnTo>
                          <a:lnTo>
                            <a:pt x="688" y="766"/>
                          </a:lnTo>
                          <a:lnTo>
                            <a:pt x="684" y="784"/>
                          </a:lnTo>
                          <a:lnTo>
                            <a:pt x="684" y="800"/>
                          </a:lnTo>
                          <a:lnTo>
                            <a:pt x="684" y="800"/>
                          </a:lnTo>
                          <a:lnTo>
                            <a:pt x="684" y="812"/>
                          </a:lnTo>
                          <a:lnTo>
                            <a:pt x="686" y="824"/>
                          </a:lnTo>
                          <a:lnTo>
                            <a:pt x="692" y="846"/>
                          </a:lnTo>
                          <a:lnTo>
                            <a:pt x="704" y="866"/>
                          </a:lnTo>
                          <a:lnTo>
                            <a:pt x="718" y="884"/>
                          </a:lnTo>
                          <a:lnTo>
                            <a:pt x="736" y="898"/>
                          </a:lnTo>
                          <a:lnTo>
                            <a:pt x="756" y="908"/>
                          </a:lnTo>
                          <a:lnTo>
                            <a:pt x="778" y="916"/>
                          </a:lnTo>
                          <a:lnTo>
                            <a:pt x="788" y="918"/>
                          </a:lnTo>
                          <a:lnTo>
                            <a:pt x="800" y="918"/>
                          </a:lnTo>
                          <a:lnTo>
                            <a:pt x="800" y="918"/>
                          </a:lnTo>
                          <a:lnTo>
                            <a:pt x="812" y="918"/>
                          </a:lnTo>
                          <a:lnTo>
                            <a:pt x="824" y="916"/>
                          </a:lnTo>
                          <a:lnTo>
                            <a:pt x="846" y="908"/>
                          </a:lnTo>
                          <a:lnTo>
                            <a:pt x="866" y="898"/>
                          </a:lnTo>
                          <a:lnTo>
                            <a:pt x="884" y="884"/>
                          </a:lnTo>
                          <a:lnTo>
                            <a:pt x="898" y="866"/>
                          </a:lnTo>
                          <a:lnTo>
                            <a:pt x="908" y="846"/>
                          </a:lnTo>
                          <a:lnTo>
                            <a:pt x="916" y="824"/>
                          </a:lnTo>
                          <a:lnTo>
                            <a:pt x="918" y="812"/>
                          </a:lnTo>
                          <a:lnTo>
                            <a:pt x="918" y="800"/>
                          </a:lnTo>
                          <a:lnTo>
                            <a:pt x="918" y="800"/>
                          </a:lnTo>
                          <a:lnTo>
                            <a:pt x="916" y="784"/>
                          </a:lnTo>
                          <a:lnTo>
                            <a:pt x="912" y="766"/>
                          </a:lnTo>
                          <a:lnTo>
                            <a:pt x="906" y="750"/>
                          </a:lnTo>
                          <a:lnTo>
                            <a:pt x="898" y="736"/>
                          </a:lnTo>
                          <a:lnTo>
                            <a:pt x="888" y="722"/>
                          </a:lnTo>
                          <a:lnTo>
                            <a:pt x="876" y="710"/>
                          </a:lnTo>
                          <a:lnTo>
                            <a:pt x="862" y="702"/>
                          </a:lnTo>
                          <a:lnTo>
                            <a:pt x="848" y="694"/>
                          </a:lnTo>
                          <a:lnTo>
                            <a:pt x="848" y="694"/>
                          </a:lnTo>
                          <a:close/>
                          <a:moveTo>
                            <a:pt x="184" y="800"/>
                          </a:moveTo>
                          <a:lnTo>
                            <a:pt x="184" y="800"/>
                          </a:lnTo>
                          <a:lnTo>
                            <a:pt x="184" y="814"/>
                          </a:lnTo>
                          <a:lnTo>
                            <a:pt x="180" y="828"/>
                          </a:lnTo>
                          <a:lnTo>
                            <a:pt x="174" y="838"/>
                          </a:lnTo>
                          <a:lnTo>
                            <a:pt x="166" y="848"/>
                          </a:lnTo>
                          <a:lnTo>
                            <a:pt x="156" y="856"/>
                          </a:lnTo>
                          <a:lnTo>
                            <a:pt x="144" y="864"/>
                          </a:lnTo>
                          <a:lnTo>
                            <a:pt x="132" y="866"/>
                          </a:lnTo>
                          <a:lnTo>
                            <a:pt x="118" y="868"/>
                          </a:lnTo>
                          <a:lnTo>
                            <a:pt x="118" y="868"/>
                          </a:lnTo>
                          <a:lnTo>
                            <a:pt x="104" y="866"/>
                          </a:lnTo>
                          <a:lnTo>
                            <a:pt x="92" y="864"/>
                          </a:lnTo>
                          <a:lnTo>
                            <a:pt x="80" y="856"/>
                          </a:lnTo>
                          <a:lnTo>
                            <a:pt x="70" y="848"/>
                          </a:lnTo>
                          <a:lnTo>
                            <a:pt x="62" y="838"/>
                          </a:lnTo>
                          <a:lnTo>
                            <a:pt x="56" y="828"/>
                          </a:lnTo>
                          <a:lnTo>
                            <a:pt x="52" y="814"/>
                          </a:lnTo>
                          <a:lnTo>
                            <a:pt x="50" y="800"/>
                          </a:lnTo>
                          <a:lnTo>
                            <a:pt x="50" y="800"/>
                          </a:lnTo>
                          <a:lnTo>
                            <a:pt x="52" y="788"/>
                          </a:lnTo>
                          <a:lnTo>
                            <a:pt x="56" y="774"/>
                          </a:lnTo>
                          <a:lnTo>
                            <a:pt x="62" y="764"/>
                          </a:lnTo>
                          <a:lnTo>
                            <a:pt x="70" y="754"/>
                          </a:lnTo>
                          <a:lnTo>
                            <a:pt x="80" y="744"/>
                          </a:lnTo>
                          <a:lnTo>
                            <a:pt x="92" y="738"/>
                          </a:lnTo>
                          <a:lnTo>
                            <a:pt x="104" y="734"/>
                          </a:lnTo>
                          <a:lnTo>
                            <a:pt x="118" y="734"/>
                          </a:lnTo>
                          <a:lnTo>
                            <a:pt x="118" y="734"/>
                          </a:lnTo>
                          <a:lnTo>
                            <a:pt x="132" y="734"/>
                          </a:lnTo>
                          <a:lnTo>
                            <a:pt x="144" y="738"/>
                          </a:lnTo>
                          <a:lnTo>
                            <a:pt x="156" y="744"/>
                          </a:lnTo>
                          <a:lnTo>
                            <a:pt x="166" y="754"/>
                          </a:lnTo>
                          <a:lnTo>
                            <a:pt x="174" y="764"/>
                          </a:lnTo>
                          <a:lnTo>
                            <a:pt x="180" y="774"/>
                          </a:lnTo>
                          <a:lnTo>
                            <a:pt x="184" y="788"/>
                          </a:lnTo>
                          <a:lnTo>
                            <a:pt x="184" y="800"/>
                          </a:lnTo>
                          <a:lnTo>
                            <a:pt x="184" y="800"/>
                          </a:lnTo>
                          <a:close/>
                          <a:moveTo>
                            <a:pt x="392" y="118"/>
                          </a:moveTo>
                          <a:lnTo>
                            <a:pt x="392" y="118"/>
                          </a:lnTo>
                          <a:lnTo>
                            <a:pt x="392" y="104"/>
                          </a:lnTo>
                          <a:lnTo>
                            <a:pt x="396" y="92"/>
                          </a:lnTo>
                          <a:lnTo>
                            <a:pt x="404" y="80"/>
                          </a:lnTo>
                          <a:lnTo>
                            <a:pt x="412" y="70"/>
                          </a:lnTo>
                          <a:lnTo>
                            <a:pt x="422" y="62"/>
                          </a:lnTo>
                          <a:lnTo>
                            <a:pt x="432" y="56"/>
                          </a:lnTo>
                          <a:lnTo>
                            <a:pt x="446" y="52"/>
                          </a:lnTo>
                          <a:lnTo>
                            <a:pt x="460" y="50"/>
                          </a:lnTo>
                          <a:lnTo>
                            <a:pt x="460" y="50"/>
                          </a:lnTo>
                          <a:lnTo>
                            <a:pt x="472" y="52"/>
                          </a:lnTo>
                          <a:lnTo>
                            <a:pt x="486" y="56"/>
                          </a:lnTo>
                          <a:lnTo>
                            <a:pt x="496" y="62"/>
                          </a:lnTo>
                          <a:lnTo>
                            <a:pt x="506" y="70"/>
                          </a:lnTo>
                          <a:lnTo>
                            <a:pt x="516" y="80"/>
                          </a:lnTo>
                          <a:lnTo>
                            <a:pt x="522" y="92"/>
                          </a:lnTo>
                          <a:lnTo>
                            <a:pt x="526" y="104"/>
                          </a:lnTo>
                          <a:lnTo>
                            <a:pt x="526" y="118"/>
                          </a:lnTo>
                          <a:lnTo>
                            <a:pt x="526" y="118"/>
                          </a:lnTo>
                          <a:lnTo>
                            <a:pt x="526" y="132"/>
                          </a:lnTo>
                          <a:lnTo>
                            <a:pt x="522" y="144"/>
                          </a:lnTo>
                          <a:lnTo>
                            <a:pt x="516" y="156"/>
                          </a:lnTo>
                          <a:lnTo>
                            <a:pt x="506" y="166"/>
                          </a:lnTo>
                          <a:lnTo>
                            <a:pt x="496" y="174"/>
                          </a:lnTo>
                          <a:lnTo>
                            <a:pt x="486" y="180"/>
                          </a:lnTo>
                          <a:lnTo>
                            <a:pt x="472" y="184"/>
                          </a:lnTo>
                          <a:lnTo>
                            <a:pt x="460" y="186"/>
                          </a:lnTo>
                          <a:lnTo>
                            <a:pt x="460" y="186"/>
                          </a:lnTo>
                          <a:lnTo>
                            <a:pt x="446" y="184"/>
                          </a:lnTo>
                          <a:lnTo>
                            <a:pt x="432" y="180"/>
                          </a:lnTo>
                          <a:lnTo>
                            <a:pt x="422" y="174"/>
                          </a:lnTo>
                          <a:lnTo>
                            <a:pt x="412" y="166"/>
                          </a:lnTo>
                          <a:lnTo>
                            <a:pt x="404" y="156"/>
                          </a:lnTo>
                          <a:lnTo>
                            <a:pt x="396" y="144"/>
                          </a:lnTo>
                          <a:lnTo>
                            <a:pt x="392" y="132"/>
                          </a:lnTo>
                          <a:lnTo>
                            <a:pt x="392" y="118"/>
                          </a:lnTo>
                          <a:lnTo>
                            <a:pt x="392" y="118"/>
                          </a:lnTo>
                          <a:close/>
                          <a:moveTo>
                            <a:pt x="526" y="800"/>
                          </a:moveTo>
                          <a:lnTo>
                            <a:pt x="526" y="800"/>
                          </a:lnTo>
                          <a:lnTo>
                            <a:pt x="526" y="814"/>
                          </a:lnTo>
                          <a:lnTo>
                            <a:pt x="522" y="828"/>
                          </a:lnTo>
                          <a:lnTo>
                            <a:pt x="516" y="838"/>
                          </a:lnTo>
                          <a:lnTo>
                            <a:pt x="506" y="848"/>
                          </a:lnTo>
                          <a:lnTo>
                            <a:pt x="496" y="856"/>
                          </a:lnTo>
                          <a:lnTo>
                            <a:pt x="486" y="864"/>
                          </a:lnTo>
                          <a:lnTo>
                            <a:pt x="472" y="866"/>
                          </a:lnTo>
                          <a:lnTo>
                            <a:pt x="460" y="868"/>
                          </a:lnTo>
                          <a:lnTo>
                            <a:pt x="460" y="868"/>
                          </a:lnTo>
                          <a:lnTo>
                            <a:pt x="446" y="866"/>
                          </a:lnTo>
                          <a:lnTo>
                            <a:pt x="432" y="864"/>
                          </a:lnTo>
                          <a:lnTo>
                            <a:pt x="422" y="856"/>
                          </a:lnTo>
                          <a:lnTo>
                            <a:pt x="412" y="848"/>
                          </a:lnTo>
                          <a:lnTo>
                            <a:pt x="404" y="838"/>
                          </a:lnTo>
                          <a:lnTo>
                            <a:pt x="396" y="828"/>
                          </a:lnTo>
                          <a:lnTo>
                            <a:pt x="392" y="814"/>
                          </a:lnTo>
                          <a:lnTo>
                            <a:pt x="392" y="800"/>
                          </a:lnTo>
                          <a:lnTo>
                            <a:pt x="392" y="800"/>
                          </a:lnTo>
                          <a:lnTo>
                            <a:pt x="392" y="788"/>
                          </a:lnTo>
                          <a:lnTo>
                            <a:pt x="396" y="774"/>
                          </a:lnTo>
                          <a:lnTo>
                            <a:pt x="404" y="764"/>
                          </a:lnTo>
                          <a:lnTo>
                            <a:pt x="412" y="754"/>
                          </a:lnTo>
                          <a:lnTo>
                            <a:pt x="422" y="744"/>
                          </a:lnTo>
                          <a:lnTo>
                            <a:pt x="432" y="738"/>
                          </a:lnTo>
                          <a:lnTo>
                            <a:pt x="446" y="734"/>
                          </a:lnTo>
                          <a:lnTo>
                            <a:pt x="460" y="734"/>
                          </a:lnTo>
                          <a:lnTo>
                            <a:pt x="460" y="734"/>
                          </a:lnTo>
                          <a:lnTo>
                            <a:pt x="472" y="734"/>
                          </a:lnTo>
                          <a:lnTo>
                            <a:pt x="486" y="738"/>
                          </a:lnTo>
                          <a:lnTo>
                            <a:pt x="496" y="744"/>
                          </a:lnTo>
                          <a:lnTo>
                            <a:pt x="506" y="754"/>
                          </a:lnTo>
                          <a:lnTo>
                            <a:pt x="516" y="764"/>
                          </a:lnTo>
                          <a:lnTo>
                            <a:pt x="522" y="774"/>
                          </a:lnTo>
                          <a:lnTo>
                            <a:pt x="526" y="788"/>
                          </a:lnTo>
                          <a:lnTo>
                            <a:pt x="526" y="800"/>
                          </a:lnTo>
                          <a:lnTo>
                            <a:pt x="526" y="800"/>
                          </a:lnTo>
                          <a:close/>
                          <a:moveTo>
                            <a:pt x="800" y="868"/>
                          </a:moveTo>
                          <a:lnTo>
                            <a:pt x="800" y="868"/>
                          </a:lnTo>
                          <a:lnTo>
                            <a:pt x="788" y="866"/>
                          </a:lnTo>
                          <a:lnTo>
                            <a:pt x="774" y="864"/>
                          </a:lnTo>
                          <a:lnTo>
                            <a:pt x="762" y="856"/>
                          </a:lnTo>
                          <a:lnTo>
                            <a:pt x="752" y="848"/>
                          </a:lnTo>
                          <a:lnTo>
                            <a:pt x="744" y="838"/>
                          </a:lnTo>
                          <a:lnTo>
                            <a:pt x="738" y="828"/>
                          </a:lnTo>
                          <a:lnTo>
                            <a:pt x="734" y="814"/>
                          </a:lnTo>
                          <a:lnTo>
                            <a:pt x="734" y="800"/>
                          </a:lnTo>
                          <a:lnTo>
                            <a:pt x="734" y="800"/>
                          </a:lnTo>
                          <a:lnTo>
                            <a:pt x="734" y="788"/>
                          </a:lnTo>
                          <a:lnTo>
                            <a:pt x="738" y="774"/>
                          </a:lnTo>
                          <a:lnTo>
                            <a:pt x="744" y="764"/>
                          </a:lnTo>
                          <a:lnTo>
                            <a:pt x="752" y="754"/>
                          </a:lnTo>
                          <a:lnTo>
                            <a:pt x="762" y="744"/>
                          </a:lnTo>
                          <a:lnTo>
                            <a:pt x="774" y="738"/>
                          </a:lnTo>
                          <a:lnTo>
                            <a:pt x="788" y="734"/>
                          </a:lnTo>
                          <a:lnTo>
                            <a:pt x="800" y="734"/>
                          </a:lnTo>
                          <a:lnTo>
                            <a:pt x="800" y="734"/>
                          </a:lnTo>
                          <a:lnTo>
                            <a:pt x="814" y="734"/>
                          </a:lnTo>
                          <a:lnTo>
                            <a:pt x="826" y="738"/>
                          </a:lnTo>
                          <a:lnTo>
                            <a:pt x="838" y="744"/>
                          </a:lnTo>
                          <a:lnTo>
                            <a:pt x="848" y="754"/>
                          </a:lnTo>
                          <a:lnTo>
                            <a:pt x="856" y="764"/>
                          </a:lnTo>
                          <a:lnTo>
                            <a:pt x="862" y="774"/>
                          </a:lnTo>
                          <a:lnTo>
                            <a:pt x="866" y="788"/>
                          </a:lnTo>
                          <a:lnTo>
                            <a:pt x="868" y="800"/>
                          </a:lnTo>
                          <a:lnTo>
                            <a:pt x="868" y="800"/>
                          </a:lnTo>
                          <a:lnTo>
                            <a:pt x="866" y="814"/>
                          </a:lnTo>
                          <a:lnTo>
                            <a:pt x="862" y="828"/>
                          </a:lnTo>
                          <a:lnTo>
                            <a:pt x="856" y="838"/>
                          </a:lnTo>
                          <a:lnTo>
                            <a:pt x="848" y="848"/>
                          </a:lnTo>
                          <a:lnTo>
                            <a:pt x="838" y="856"/>
                          </a:lnTo>
                          <a:lnTo>
                            <a:pt x="826" y="864"/>
                          </a:lnTo>
                          <a:lnTo>
                            <a:pt x="814" y="866"/>
                          </a:lnTo>
                          <a:lnTo>
                            <a:pt x="800" y="868"/>
                          </a:lnTo>
                          <a:lnTo>
                            <a:pt x="800" y="868"/>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6" name="TextBox 22">
                      <a:extLst>
                        <a:ext uri="{FF2B5EF4-FFF2-40B4-BE49-F238E27FC236}">
                          <a16:creationId xmlns:a16="http://schemas.microsoft.com/office/drawing/2014/main" id="{483568D2-48CC-46FB-B13F-A2EB0D44834D}"/>
                        </a:ext>
                      </a:extLst>
                    </p:cNvPr>
                    <p:cNvSpPr txBox="1"/>
                    <p:nvPr/>
                  </p:nvSpPr>
                  <p:spPr>
                    <a:xfrm>
                      <a:off x="10834356" y="8013357"/>
                      <a:ext cx="875085" cy="6428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Bức</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anh</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Vậ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ành</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chung</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7" name="Freeform 105">
                      <a:extLst>
                        <a:ext uri="{FF2B5EF4-FFF2-40B4-BE49-F238E27FC236}">
                          <a16:creationId xmlns:a16="http://schemas.microsoft.com/office/drawing/2014/main" id="{3D2E89CE-D602-4907-A085-7FAB3AF6595D}"/>
                        </a:ext>
                      </a:extLst>
                    </p:cNvPr>
                    <p:cNvSpPr>
                      <a:spLocks noChangeAspect="1"/>
                    </p:cNvSpPr>
                    <p:nvPr/>
                  </p:nvSpPr>
                  <p:spPr bwMode="auto">
                    <a:xfrm>
                      <a:off x="11583051" y="7421229"/>
                      <a:ext cx="224868" cy="352952"/>
                    </a:xfrm>
                    <a:custGeom>
                      <a:avLst/>
                      <a:gdLst>
                        <a:gd name="T0" fmla="*/ 130 w 684"/>
                        <a:gd name="T1" fmla="*/ 748 h 976"/>
                        <a:gd name="T2" fmla="*/ 216 w 684"/>
                        <a:gd name="T3" fmla="*/ 738 h 976"/>
                        <a:gd name="T4" fmla="*/ 282 w 684"/>
                        <a:gd name="T5" fmla="*/ 728 h 976"/>
                        <a:gd name="T6" fmla="*/ 326 w 684"/>
                        <a:gd name="T7" fmla="*/ 706 h 976"/>
                        <a:gd name="T8" fmla="*/ 370 w 684"/>
                        <a:gd name="T9" fmla="*/ 660 h 976"/>
                        <a:gd name="T10" fmla="*/ 400 w 684"/>
                        <a:gd name="T11" fmla="*/ 612 h 976"/>
                        <a:gd name="T12" fmla="*/ 360 w 684"/>
                        <a:gd name="T13" fmla="*/ 616 h 976"/>
                        <a:gd name="T14" fmla="*/ 300 w 684"/>
                        <a:gd name="T15" fmla="*/ 596 h 976"/>
                        <a:gd name="T16" fmla="*/ 256 w 684"/>
                        <a:gd name="T17" fmla="*/ 556 h 976"/>
                        <a:gd name="T18" fmla="*/ 254 w 684"/>
                        <a:gd name="T19" fmla="*/ 546 h 976"/>
                        <a:gd name="T20" fmla="*/ 288 w 684"/>
                        <a:gd name="T21" fmla="*/ 534 h 976"/>
                        <a:gd name="T22" fmla="*/ 390 w 684"/>
                        <a:gd name="T23" fmla="*/ 516 h 976"/>
                        <a:gd name="T24" fmla="*/ 468 w 684"/>
                        <a:gd name="T25" fmla="*/ 484 h 976"/>
                        <a:gd name="T26" fmla="*/ 544 w 684"/>
                        <a:gd name="T27" fmla="*/ 418 h 976"/>
                        <a:gd name="T28" fmla="*/ 540 w 684"/>
                        <a:gd name="T29" fmla="*/ 392 h 976"/>
                        <a:gd name="T30" fmla="*/ 470 w 684"/>
                        <a:gd name="T31" fmla="*/ 396 h 976"/>
                        <a:gd name="T32" fmla="*/ 422 w 684"/>
                        <a:gd name="T33" fmla="*/ 384 h 976"/>
                        <a:gd name="T34" fmla="*/ 392 w 684"/>
                        <a:gd name="T35" fmla="*/ 366 h 976"/>
                        <a:gd name="T36" fmla="*/ 380 w 684"/>
                        <a:gd name="T37" fmla="*/ 346 h 976"/>
                        <a:gd name="T38" fmla="*/ 384 w 684"/>
                        <a:gd name="T39" fmla="*/ 334 h 976"/>
                        <a:gd name="T40" fmla="*/ 406 w 684"/>
                        <a:gd name="T41" fmla="*/ 326 h 976"/>
                        <a:gd name="T42" fmla="*/ 538 w 684"/>
                        <a:gd name="T43" fmla="*/ 302 h 976"/>
                        <a:gd name="T44" fmla="*/ 592 w 684"/>
                        <a:gd name="T45" fmla="*/ 284 h 976"/>
                        <a:gd name="T46" fmla="*/ 638 w 684"/>
                        <a:gd name="T47" fmla="*/ 252 h 976"/>
                        <a:gd name="T48" fmla="*/ 662 w 684"/>
                        <a:gd name="T49" fmla="*/ 216 h 976"/>
                        <a:gd name="T50" fmla="*/ 682 w 684"/>
                        <a:gd name="T51" fmla="*/ 146 h 976"/>
                        <a:gd name="T52" fmla="*/ 678 w 684"/>
                        <a:gd name="T53" fmla="*/ 92 h 976"/>
                        <a:gd name="T54" fmla="*/ 668 w 684"/>
                        <a:gd name="T55" fmla="*/ 76 h 976"/>
                        <a:gd name="T56" fmla="*/ 598 w 684"/>
                        <a:gd name="T57" fmla="*/ 30 h 976"/>
                        <a:gd name="T58" fmla="*/ 512 w 684"/>
                        <a:gd name="T59" fmla="*/ 2 h 976"/>
                        <a:gd name="T60" fmla="*/ 486 w 684"/>
                        <a:gd name="T61" fmla="*/ 0 h 976"/>
                        <a:gd name="T62" fmla="*/ 450 w 684"/>
                        <a:gd name="T63" fmla="*/ 24 h 976"/>
                        <a:gd name="T64" fmla="*/ 382 w 684"/>
                        <a:gd name="T65" fmla="*/ 122 h 976"/>
                        <a:gd name="T66" fmla="*/ 324 w 684"/>
                        <a:gd name="T67" fmla="*/ 216 h 976"/>
                        <a:gd name="T68" fmla="*/ 300 w 684"/>
                        <a:gd name="T69" fmla="*/ 238 h 976"/>
                        <a:gd name="T70" fmla="*/ 292 w 684"/>
                        <a:gd name="T71" fmla="*/ 232 h 976"/>
                        <a:gd name="T72" fmla="*/ 280 w 684"/>
                        <a:gd name="T73" fmla="*/ 198 h 976"/>
                        <a:gd name="T74" fmla="*/ 288 w 684"/>
                        <a:gd name="T75" fmla="*/ 108 h 976"/>
                        <a:gd name="T76" fmla="*/ 316 w 684"/>
                        <a:gd name="T77" fmla="*/ 38 h 976"/>
                        <a:gd name="T78" fmla="*/ 244 w 684"/>
                        <a:gd name="T79" fmla="*/ 82 h 976"/>
                        <a:gd name="T80" fmla="*/ 170 w 684"/>
                        <a:gd name="T81" fmla="*/ 150 h 976"/>
                        <a:gd name="T82" fmla="*/ 138 w 684"/>
                        <a:gd name="T83" fmla="*/ 198 h 976"/>
                        <a:gd name="T84" fmla="*/ 116 w 684"/>
                        <a:gd name="T85" fmla="*/ 278 h 976"/>
                        <a:gd name="T86" fmla="*/ 114 w 684"/>
                        <a:gd name="T87" fmla="*/ 372 h 976"/>
                        <a:gd name="T88" fmla="*/ 126 w 684"/>
                        <a:gd name="T89" fmla="*/ 580 h 976"/>
                        <a:gd name="T90" fmla="*/ 122 w 684"/>
                        <a:gd name="T91" fmla="*/ 594 h 976"/>
                        <a:gd name="T92" fmla="*/ 100 w 684"/>
                        <a:gd name="T93" fmla="*/ 578 h 976"/>
                        <a:gd name="T94" fmla="*/ 54 w 684"/>
                        <a:gd name="T95" fmla="*/ 498 h 976"/>
                        <a:gd name="T96" fmla="*/ 16 w 684"/>
                        <a:gd name="T97" fmla="*/ 410 h 976"/>
                        <a:gd name="T98" fmla="*/ 2 w 684"/>
                        <a:gd name="T99" fmla="*/ 480 h 976"/>
                        <a:gd name="T100" fmla="*/ 6 w 684"/>
                        <a:gd name="T101" fmla="*/ 572 h 976"/>
                        <a:gd name="T102" fmla="*/ 22 w 684"/>
                        <a:gd name="T103" fmla="*/ 632 h 976"/>
                        <a:gd name="T104" fmla="*/ 54 w 684"/>
                        <a:gd name="T105" fmla="*/ 696 h 976"/>
                        <a:gd name="T106" fmla="*/ 58 w 684"/>
                        <a:gd name="T107" fmla="*/ 750 h 976"/>
                        <a:gd name="T108" fmla="*/ 24 w 684"/>
                        <a:gd name="T109" fmla="*/ 896 h 976"/>
                        <a:gd name="T110" fmla="*/ 20 w 684"/>
                        <a:gd name="T111" fmla="*/ 952 h 976"/>
                        <a:gd name="T112" fmla="*/ 38 w 684"/>
                        <a:gd name="T113" fmla="*/ 974 h 976"/>
                        <a:gd name="T114" fmla="*/ 58 w 684"/>
                        <a:gd name="T115" fmla="*/ 972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4" h="976">
                          <a:moveTo>
                            <a:pt x="62" y="964"/>
                          </a:moveTo>
                          <a:lnTo>
                            <a:pt x="62" y="964"/>
                          </a:lnTo>
                          <a:lnTo>
                            <a:pt x="130" y="748"/>
                          </a:lnTo>
                          <a:lnTo>
                            <a:pt x="130" y="748"/>
                          </a:lnTo>
                          <a:lnTo>
                            <a:pt x="176" y="742"/>
                          </a:lnTo>
                          <a:lnTo>
                            <a:pt x="216" y="738"/>
                          </a:lnTo>
                          <a:lnTo>
                            <a:pt x="250" y="736"/>
                          </a:lnTo>
                          <a:lnTo>
                            <a:pt x="268" y="732"/>
                          </a:lnTo>
                          <a:lnTo>
                            <a:pt x="282" y="728"/>
                          </a:lnTo>
                          <a:lnTo>
                            <a:pt x="298" y="724"/>
                          </a:lnTo>
                          <a:lnTo>
                            <a:pt x="312" y="716"/>
                          </a:lnTo>
                          <a:lnTo>
                            <a:pt x="326" y="706"/>
                          </a:lnTo>
                          <a:lnTo>
                            <a:pt x="340" y="694"/>
                          </a:lnTo>
                          <a:lnTo>
                            <a:pt x="356" y="678"/>
                          </a:lnTo>
                          <a:lnTo>
                            <a:pt x="370" y="660"/>
                          </a:lnTo>
                          <a:lnTo>
                            <a:pt x="384" y="638"/>
                          </a:lnTo>
                          <a:lnTo>
                            <a:pt x="400" y="612"/>
                          </a:lnTo>
                          <a:lnTo>
                            <a:pt x="400" y="612"/>
                          </a:lnTo>
                          <a:lnTo>
                            <a:pt x="386" y="614"/>
                          </a:lnTo>
                          <a:lnTo>
                            <a:pt x="374" y="616"/>
                          </a:lnTo>
                          <a:lnTo>
                            <a:pt x="360" y="616"/>
                          </a:lnTo>
                          <a:lnTo>
                            <a:pt x="348" y="614"/>
                          </a:lnTo>
                          <a:lnTo>
                            <a:pt x="322" y="608"/>
                          </a:lnTo>
                          <a:lnTo>
                            <a:pt x="300" y="596"/>
                          </a:lnTo>
                          <a:lnTo>
                            <a:pt x="280" y="584"/>
                          </a:lnTo>
                          <a:lnTo>
                            <a:pt x="266" y="570"/>
                          </a:lnTo>
                          <a:lnTo>
                            <a:pt x="256" y="556"/>
                          </a:lnTo>
                          <a:lnTo>
                            <a:pt x="254" y="552"/>
                          </a:lnTo>
                          <a:lnTo>
                            <a:pt x="254" y="546"/>
                          </a:lnTo>
                          <a:lnTo>
                            <a:pt x="254" y="546"/>
                          </a:lnTo>
                          <a:lnTo>
                            <a:pt x="258" y="542"/>
                          </a:lnTo>
                          <a:lnTo>
                            <a:pt x="264" y="538"/>
                          </a:lnTo>
                          <a:lnTo>
                            <a:pt x="288" y="534"/>
                          </a:lnTo>
                          <a:lnTo>
                            <a:pt x="322" y="530"/>
                          </a:lnTo>
                          <a:lnTo>
                            <a:pt x="366" y="524"/>
                          </a:lnTo>
                          <a:lnTo>
                            <a:pt x="390" y="516"/>
                          </a:lnTo>
                          <a:lnTo>
                            <a:pt x="416" y="508"/>
                          </a:lnTo>
                          <a:lnTo>
                            <a:pt x="442" y="498"/>
                          </a:lnTo>
                          <a:lnTo>
                            <a:pt x="468" y="484"/>
                          </a:lnTo>
                          <a:lnTo>
                            <a:pt x="494" y="466"/>
                          </a:lnTo>
                          <a:lnTo>
                            <a:pt x="518" y="444"/>
                          </a:lnTo>
                          <a:lnTo>
                            <a:pt x="544" y="418"/>
                          </a:lnTo>
                          <a:lnTo>
                            <a:pt x="568" y="388"/>
                          </a:lnTo>
                          <a:lnTo>
                            <a:pt x="568" y="388"/>
                          </a:lnTo>
                          <a:lnTo>
                            <a:pt x="540" y="392"/>
                          </a:lnTo>
                          <a:lnTo>
                            <a:pt x="514" y="396"/>
                          </a:lnTo>
                          <a:lnTo>
                            <a:pt x="492" y="396"/>
                          </a:lnTo>
                          <a:lnTo>
                            <a:pt x="470" y="396"/>
                          </a:lnTo>
                          <a:lnTo>
                            <a:pt x="452" y="394"/>
                          </a:lnTo>
                          <a:lnTo>
                            <a:pt x="436" y="390"/>
                          </a:lnTo>
                          <a:lnTo>
                            <a:pt x="422" y="384"/>
                          </a:lnTo>
                          <a:lnTo>
                            <a:pt x="410" y="378"/>
                          </a:lnTo>
                          <a:lnTo>
                            <a:pt x="400" y="372"/>
                          </a:lnTo>
                          <a:lnTo>
                            <a:pt x="392" y="366"/>
                          </a:lnTo>
                          <a:lnTo>
                            <a:pt x="386" y="358"/>
                          </a:lnTo>
                          <a:lnTo>
                            <a:pt x="382" y="352"/>
                          </a:lnTo>
                          <a:lnTo>
                            <a:pt x="380" y="346"/>
                          </a:lnTo>
                          <a:lnTo>
                            <a:pt x="380" y="342"/>
                          </a:lnTo>
                          <a:lnTo>
                            <a:pt x="380" y="338"/>
                          </a:lnTo>
                          <a:lnTo>
                            <a:pt x="384" y="334"/>
                          </a:lnTo>
                          <a:lnTo>
                            <a:pt x="384" y="334"/>
                          </a:lnTo>
                          <a:lnTo>
                            <a:pt x="394" y="330"/>
                          </a:lnTo>
                          <a:lnTo>
                            <a:pt x="406" y="326"/>
                          </a:lnTo>
                          <a:lnTo>
                            <a:pt x="432" y="320"/>
                          </a:lnTo>
                          <a:lnTo>
                            <a:pt x="502" y="310"/>
                          </a:lnTo>
                          <a:lnTo>
                            <a:pt x="538" y="302"/>
                          </a:lnTo>
                          <a:lnTo>
                            <a:pt x="556" y="298"/>
                          </a:lnTo>
                          <a:lnTo>
                            <a:pt x="574" y="292"/>
                          </a:lnTo>
                          <a:lnTo>
                            <a:pt x="592" y="284"/>
                          </a:lnTo>
                          <a:lnTo>
                            <a:pt x="608" y="274"/>
                          </a:lnTo>
                          <a:lnTo>
                            <a:pt x="624" y="264"/>
                          </a:lnTo>
                          <a:lnTo>
                            <a:pt x="638" y="252"/>
                          </a:lnTo>
                          <a:lnTo>
                            <a:pt x="638" y="252"/>
                          </a:lnTo>
                          <a:lnTo>
                            <a:pt x="652" y="236"/>
                          </a:lnTo>
                          <a:lnTo>
                            <a:pt x="662" y="216"/>
                          </a:lnTo>
                          <a:lnTo>
                            <a:pt x="672" y="194"/>
                          </a:lnTo>
                          <a:lnTo>
                            <a:pt x="678" y="170"/>
                          </a:lnTo>
                          <a:lnTo>
                            <a:pt x="682" y="146"/>
                          </a:lnTo>
                          <a:lnTo>
                            <a:pt x="684" y="126"/>
                          </a:lnTo>
                          <a:lnTo>
                            <a:pt x="682" y="106"/>
                          </a:lnTo>
                          <a:lnTo>
                            <a:pt x="678" y="92"/>
                          </a:lnTo>
                          <a:lnTo>
                            <a:pt x="678" y="92"/>
                          </a:lnTo>
                          <a:lnTo>
                            <a:pt x="674" y="84"/>
                          </a:lnTo>
                          <a:lnTo>
                            <a:pt x="668" y="76"/>
                          </a:lnTo>
                          <a:lnTo>
                            <a:pt x="650" y="60"/>
                          </a:lnTo>
                          <a:lnTo>
                            <a:pt x="626" y="44"/>
                          </a:lnTo>
                          <a:lnTo>
                            <a:pt x="598" y="30"/>
                          </a:lnTo>
                          <a:lnTo>
                            <a:pt x="570" y="16"/>
                          </a:lnTo>
                          <a:lnTo>
                            <a:pt x="540" y="8"/>
                          </a:lnTo>
                          <a:lnTo>
                            <a:pt x="512" y="2"/>
                          </a:lnTo>
                          <a:lnTo>
                            <a:pt x="498" y="0"/>
                          </a:lnTo>
                          <a:lnTo>
                            <a:pt x="486" y="0"/>
                          </a:lnTo>
                          <a:lnTo>
                            <a:pt x="486" y="0"/>
                          </a:lnTo>
                          <a:lnTo>
                            <a:pt x="476" y="4"/>
                          </a:lnTo>
                          <a:lnTo>
                            <a:pt x="462" y="12"/>
                          </a:lnTo>
                          <a:lnTo>
                            <a:pt x="450" y="24"/>
                          </a:lnTo>
                          <a:lnTo>
                            <a:pt x="436" y="40"/>
                          </a:lnTo>
                          <a:lnTo>
                            <a:pt x="408" y="78"/>
                          </a:lnTo>
                          <a:lnTo>
                            <a:pt x="382" y="122"/>
                          </a:lnTo>
                          <a:lnTo>
                            <a:pt x="356" y="164"/>
                          </a:lnTo>
                          <a:lnTo>
                            <a:pt x="334" y="202"/>
                          </a:lnTo>
                          <a:lnTo>
                            <a:pt x="324" y="216"/>
                          </a:lnTo>
                          <a:lnTo>
                            <a:pt x="314" y="228"/>
                          </a:lnTo>
                          <a:lnTo>
                            <a:pt x="306" y="234"/>
                          </a:lnTo>
                          <a:lnTo>
                            <a:pt x="300" y="238"/>
                          </a:lnTo>
                          <a:lnTo>
                            <a:pt x="300" y="238"/>
                          </a:lnTo>
                          <a:lnTo>
                            <a:pt x="296" y="236"/>
                          </a:lnTo>
                          <a:lnTo>
                            <a:pt x="292" y="232"/>
                          </a:lnTo>
                          <a:lnTo>
                            <a:pt x="288" y="226"/>
                          </a:lnTo>
                          <a:lnTo>
                            <a:pt x="284" y="218"/>
                          </a:lnTo>
                          <a:lnTo>
                            <a:pt x="280" y="198"/>
                          </a:lnTo>
                          <a:lnTo>
                            <a:pt x="280" y="172"/>
                          </a:lnTo>
                          <a:lnTo>
                            <a:pt x="282" y="142"/>
                          </a:lnTo>
                          <a:lnTo>
                            <a:pt x="288" y="108"/>
                          </a:lnTo>
                          <a:lnTo>
                            <a:pt x="300" y="74"/>
                          </a:lnTo>
                          <a:lnTo>
                            <a:pt x="316" y="38"/>
                          </a:lnTo>
                          <a:lnTo>
                            <a:pt x="316" y="38"/>
                          </a:lnTo>
                          <a:lnTo>
                            <a:pt x="294" y="48"/>
                          </a:lnTo>
                          <a:lnTo>
                            <a:pt x="270" y="64"/>
                          </a:lnTo>
                          <a:lnTo>
                            <a:pt x="244" y="82"/>
                          </a:lnTo>
                          <a:lnTo>
                            <a:pt x="218" y="104"/>
                          </a:lnTo>
                          <a:lnTo>
                            <a:pt x="194" y="126"/>
                          </a:lnTo>
                          <a:lnTo>
                            <a:pt x="170" y="150"/>
                          </a:lnTo>
                          <a:lnTo>
                            <a:pt x="152" y="174"/>
                          </a:lnTo>
                          <a:lnTo>
                            <a:pt x="138" y="198"/>
                          </a:lnTo>
                          <a:lnTo>
                            <a:pt x="138" y="198"/>
                          </a:lnTo>
                          <a:lnTo>
                            <a:pt x="128" y="222"/>
                          </a:lnTo>
                          <a:lnTo>
                            <a:pt x="122" y="248"/>
                          </a:lnTo>
                          <a:lnTo>
                            <a:pt x="116" y="278"/>
                          </a:lnTo>
                          <a:lnTo>
                            <a:pt x="114" y="308"/>
                          </a:lnTo>
                          <a:lnTo>
                            <a:pt x="112" y="340"/>
                          </a:lnTo>
                          <a:lnTo>
                            <a:pt x="114" y="372"/>
                          </a:lnTo>
                          <a:lnTo>
                            <a:pt x="116" y="436"/>
                          </a:lnTo>
                          <a:lnTo>
                            <a:pt x="126" y="544"/>
                          </a:lnTo>
                          <a:lnTo>
                            <a:pt x="126" y="580"/>
                          </a:lnTo>
                          <a:lnTo>
                            <a:pt x="126" y="590"/>
                          </a:lnTo>
                          <a:lnTo>
                            <a:pt x="122" y="594"/>
                          </a:lnTo>
                          <a:lnTo>
                            <a:pt x="122" y="594"/>
                          </a:lnTo>
                          <a:lnTo>
                            <a:pt x="118" y="594"/>
                          </a:lnTo>
                          <a:lnTo>
                            <a:pt x="114" y="592"/>
                          </a:lnTo>
                          <a:lnTo>
                            <a:pt x="100" y="578"/>
                          </a:lnTo>
                          <a:lnTo>
                            <a:pt x="86" y="556"/>
                          </a:lnTo>
                          <a:lnTo>
                            <a:pt x="70" y="528"/>
                          </a:lnTo>
                          <a:lnTo>
                            <a:pt x="54" y="498"/>
                          </a:lnTo>
                          <a:lnTo>
                            <a:pt x="38" y="466"/>
                          </a:lnTo>
                          <a:lnTo>
                            <a:pt x="26" y="436"/>
                          </a:lnTo>
                          <a:lnTo>
                            <a:pt x="16" y="410"/>
                          </a:lnTo>
                          <a:lnTo>
                            <a:pt x="16" y="410"/>
                          </a:lnTo>
                          <a:lnTo>
                            <a:pt x="8" y="446"/>
                          </a:lnTo>
                          <a:lnTo>
                            <a:pt x="2" y="480"/>
                          </a:lnTo>
                          <a:lnTo>
                            <a:pt x="0" y="516"/>
                          </a:lnTo>
                          <a:lnTo>
                            <a:pt x="2" y="554"/>
                          </a:lnTo>
                          <a:lnTo>
                            <a:pt x="6" y="572"/>
                          </a:lnTo>
                          <a:lnTo>
                            <a:pt x="10" y="592"/>
                          </a:lnTo>
                          <a:lnTo>
                            <a:pt x="16" y="612"/>
                          </a:lnTo>
                          <a:lnTo>
                            <a:pt x="22" y="632"/>
                          </a:lnTo>
                          <a:lnTo>
                            <a:pt x="32" y="652"/>
                          </a:lnTo>
                          <a:lnTo>
                            <a:pt x="42" y="674"/>
                          </a:lnTo>
                          <a:lnTo>
                            <a:pt x="54" y="696"/>
                          </a:lnTo>
                          <a:lnTo>
                            <a:pt x="68" y="718"/>
                          </a:lnTo>
                          <a:lnTo>
                            <a:pt x="68" y="718"/>
                          </a:lnTo>
                          <a:lnTo>
                            <a:pt x="58" y="750"/>
                          </a:lnTo>
                          <a:lnTo>
                            <a:pt x="48" y="780"/>
                          </a:lnTo>
                          <a:lnTo>
                            <a:pt x="34" y="842"/>
                          </a:lnTo>
                          <a:lnTo>
                            <a:pt x="24" y="896"/>
                          </a:lnTo>
                          <a:lnTo>
                            <a:pt x="20" y="940"/>
                          </a:lnTo>
                          <a:lnTo>
                            <a:pt x="20" y="940"/>
                          </a:lnTo>
                          <a:lnTo>
                            <a:pt x="20" y="952"/>
                          </a:lnTo>
                          <a:lnTo>
                            <a:pt x="24" y="962"/>
                          </a:lnTo>
                          <a:lnTo>
                            <a:pt x="30" y="970"/>
                          </a:lnTo>
                          <a:lnTo>
                            <a:pt x="38" y="974"/>
                          </a:lnTo>
                          <a:lnTo>
                            <a:pt x="44" y="976"/>
                          </a:lnTo>
                          <a:lnTo>
                            <a:pt x="52" y="976"/>
                          </a:lnTo>
                          <a:lnTo>
                            <a:pt x="58" y="972"/>
                          </a:lnTo>
                          <a:lnTo>
                            <a:pt x="62" y="964"/>
                          </a:lnTo>
                          <a:lnTo>
                            <a:pt x="62" y="96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8" name="TextBox 24">
                      <a:extLst>
                        <a:ext uri="{FF2B5EF4-FFF2-40B4-BE49-F238E27FC236}">
                          <a16:creationId xmlns:a16="http://schemas.microsoft.com/office/drawing/2014/main" id="{674A5C71-CE00-4B7C-A905-63642B79439C}"/>
                        </a:ext>
                      </a:extLst>
                    </p:cNvPr>
                    <p:cNvSpPr txBox="1"/>
                    <p:nvPr/>
                  </p:nvSpPr>
                  <p:spPr>
                    <a:xfrm>
                      <a:off x="13409351" y="8259906"/>
                      <a:ext cx="1161710" cy="461516"/>
                    </a:xfrm>
                    <a:prstGeom prst="rect">
                      <a:avLst/>
                    </a:prstGeom>
                    <a:noFill/>
                  </p:spPr>
                  <p:txBody>
                    <a:bodyPr wrap="square" rtlCol="0">
                      <a:spAutoFit/>
                    </a:bodyPr>
                    <a:lstStyle>
                      <a:defPPr>
                        <a:defRPr lang="en-US"/>
                      </a:defPPr>
                      <a:lvl1pPr marL="0" algn="ctr" defTabSz="914400" eaLnBrk="1" latinLnBrk="0" hangingPunct="1">
                        <a:defRPr sz="1400">
                          <a:solidFill>
                            <a:srgbClr val="002776"/>
                          </a:solidFill>
                          <a:latin typeface="+mn-lt"/>
                          <a:cs typeface="+mn-cs"/>
                        </a:defRPr>
                      </a:lvl1pPr>
                      <a:lvl2pPr defTabSz="914400" eaLnBrk="1" latinLnBrk="0" hangingPunct="1">
                        <a:defRPr sz="1800">
                          <a:latin typeface="+mn-lt"/>
                          <a:cs typeface="+mn-cs"/>
                        </a:defRPr>
                      </a:lvl2pPr>
                      <a:lvl3pPr defTabSz="914400" eaLnBrk="1" latinLnBrk="0" hangingPunct="1">
                        <a:defRPr sz="1800">
                          <a:latin typeface="+mn-lt"/>
                          <a:cs typeface="+mn-cs"/>
                        </a:defRPr>
                      </a:lvl3pPr>
                      <a:lvl4pPr defTabSz="914400" eaLnBrk="1" latinLnBrk="0" hangingPunct="1">
                        <a:defRPr sz="1800">
                          <a:latin typeface="+mn-lt"/>
                          <a:cs typeface="+mn-cs"/>
                        </a:defRPr>
                      </a:lvl4pPr>
                      <a:lvl5pPr defTabSz="914400" eaLnBrk="1" latinLnBrk="0" hangingPunct="1">
                        <a:defRPr sz="1800">
                          <a:latin typeface="+mn-lt"/>
                          <a:cs typeface="+mn-cs"/>
                        </a:defRPr>
                      </a:lvl5pPr>
                      <a:lvl6pPr>
                        <a:defRPr sz="1800">
                          <a:latin typeface="+mn-lt"/>
                          <a:cs typeface="+mn-cs"/>
                        </a:defRPr>
                      </a:lvl6pPr>
                      <a:lvl7pPr>
                        <a:defRPr sz="1800">
                          <a:latin typeface="+mn-lt"/>
                          <a:cs typeface="+mn-cs"/>
                        </a:defRPr>
                      </a:lvl7pPr>
                      <a:lvl8pPr>
                        <a:defRPr sz="1800">
                          <a:latin typeface="+mn-lt"/>
                          <a:cs typeface="+mn-cs"/>
                        </a:defRPr>
                      </a:lvl8pPr>
                      <a:lvl9pPr>
                        <a:defRPr sz="1800">
                          <a:latin typeface="+mn-lt"/>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y</a:t>
                      </a:r>
                      <a:r>
                        <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ình</a:t>
                      </a:r>
                      <a:r>
                        <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ưa</a:t>
                      </a:r>
                      <a:r>
                        <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ra</a:t>
                      </a:r>
                      <a:r>
                        <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quyết</a:t>
                      </a:r>
                      <a:r>
                        <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định</a:t>
                      </a:r>
                      <a:endParaRPr kumimoji="0" lang="en-US" sz="1100" b="0" i="0" u="none" strike="noStrike" kern="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69" name="Freeform 107">
                      <a:extLst>
                        <a:ext uri="{FF2B5EF4-FFF2-40B4-BE49-F238E27FC236}">
                          <a16:creationId xmlns:a16="http://schemas.microsoft.com/office/drawing/2014/main" id="{F1D22B8D-D846-463A-A40D-DBF05DD60B60}"/>
                        </a:ext>
                      </a:extLst>
                    </p:cNvPr>
                    <p:cNvSpPr>
                      <a:spLocks noEditPoints="1"/>
                    </p:cNvSpPr>
                    <p:nvPr/>
                  </p:nvSpPr>
                  <p:spPr bwMode="auto">
                    <a:xfrm>
                      <a:off x="11782876" y="6802864"/>
                      <a:ext cx="458378" cy="352952"/>
                    </a:xfrm>
                    <a:custGeom>
                      <a:avLst/>
                      <a:gdLst>
                        <a:gd name="T0" fmla="*/ 920 w 1080"/>
                        <a:gd name="T1" fmla="*/ 242 h 756"/>
                        <a:gd name="T2" fmla="*/ 812 w 1080"/>
                        <a:gd name="T3" fmla="*/ 110 h 756"/>
                        <a:gd name="T4" fmla="*/ 776 w 1080"/>
                        <a:gd name="T5" fmla="*/ 32 h 756"/>
                        <a:gd name="T6" fmla="*/ 662 w 1080"/>
                        <a:gd name="T7" fmla="*/ 2 h 756"/>
                        <a:gd name="T8" fmla="*/ 566 w 1080"/>
                        <a:gd name="T9" fmla="*/ 86 h 756"/>
                        <a:gd name="T10" fmla="*/ 524 w 1080"/>
                        <a:gd name="T11" fmla="*/ 86 h 756"/>
                        <a:gd name="T12" fmla="*/ 428 w 1080"/>
                        <a:gd name="T13" fmla="*/ 2 h 756"/>
                        <a:gd name="T14" fmla="*/ 314 w 1080"/>
                        <a:gd name="T15" fmla="*/ 32 h 756"/>
                        <a:gd name="T16" fmla="*/ 278 w 1080"/>
                        <a:gd name="T17" fmla="*/ 110 h 756"/>
                        <a:gd name="T18" fmla="*/ 142 w 1080"/>
                        <a:gd name="T19" fmla="*/ 268 h 756"/>
                        <a:gd name="T20" fmla="*/ 32 w 1080"/>
                        <a:gd name="T21" fmla="*/ 428 h 756"/>
                        <a:gd name="T22" fmla="*/ 2 w 1080"/>
                        <a:gd name="T23" fmla="*/ 562 h 756"/>
                        <a:gd name="T24" fmla="*/ 50 w 1080"/>
                        <a:gd name="T25" fmla="*/ 678 h 756"/>
                        <a:gd name="T26" fmla="*/ 152 w 1080"/>
                        <a:gd name="T27" fmla="*/ 746 h 756"/>
                        <a:gd name="T28" fmla="*/ 260 w 1080"/>
                        <a:gd name="T29" fmla="*/ 752 h 756"/>
                        <a:gd name="T30" fmla="*/ 370 w 1080"/>
                        <a:gd name="T31" fmla="*/ 692 h 756"/>
                        <a:gd name="T32" fmla="*/ 430 w 1080"/>
                        <a:gd name="T33" fmla="*/ 584 h 756"/>
                        <a:gd name="T34" fmla="*/ 430 w 1080"/>
                        <a:gd name="T35" fmla="*/ 496 h 756"/>
                        <a:gd name="T36" fmla="*/ 508 w 1080"/>
                        <a:gd name="T37" fmla="*/ 560 h 756"/>
                        <a:gd name="T38" fmla="*/ 590 w 1080"/>
                        <a:gd name="T39" fmla="*/ 556 h 756"/>
                        <a:gd name="T40" fmla="*/ 650 w 1080"/>
                        <a:gd name="T41" fmla="*/ 508 h 756"/>
                        <a:gd name="T42" fmla="*/ 656 w 1080"/>
                        <a:gd name="T43" fmla="*/ 604 h 756"/>
                        <a:gd name="T44" fmla="*/ 726 w 1080"/>
                        <a:gd name="T45" fmla="*/ 706 h 756"/>
                        <a:gd name="T46" fmla="*/ 842 w 1080"/>
                        <a:gd name="T47" fmla="*/ 756 h 756"/>
                        <a:gd name="T48" fmla="*/ 948 w 1080"/>
                        <a:gd name="T49" fmla="*/ 740 h 756"/>
                        <a:gd name="T50" fmla="*/ 1042 w 1080"/>
                        <a:gd name="T51" fmla="*/ 660 h 756"/>
                        <a:gd name="T52" fmla="*/ 1080 w 1080"/>
                        <a:gd name="T53" fmla="*/ 540 h 756"/>
                        <a:gd name="T54" fmla="*/ 1064 w 1080"/>
                        <a:gd name="T55" fmla="*/ 458 h 756"/>
                        <a:gd name="T56" fmla="*/ 864 w 1080"/>
                        <a:gd name="T57" fmla="*/ 736 h 756"/>
                        <a:gd name="T58" fmla="*/ 754 w 1080"/>
                        <a:gd name="T59" fmla="*/ 704 h 756"/>
                        <a:gd name="T60" fmla="*/ 682 w 1080"/>
                        <a:gd name="T61" fmla="*/ 616 h 756"/>
                        <a:gd name="T62" fmla="*/ 668 w 1080"/>
                        <a:gd name="T63" fmla="*/ 518 h 756"/>
                        <a:gd name="T64" fmla="*/ 714 w 1080"/>
                        <a:gd name="T65" fmla="*/ 412 h 756"/>
                        <a:gd name="T66" fmla="*/ 864 w 1080"/>
                        <a:gd name="T67" fmla="*/ 342 h 756"/>
                        <a:gd name="T68" fmla="*/ 984 w 1080"/>
                        <a:gd name="T69" fmla="*/ 386 h 756"/>
                        <a:gd name="T70" fmla="*/ 1054 w 1080"/>
                        <a:gd name="T71" fmla="*/ 490 h 756"/>
                        <a:gd name="T72" fmla="*/ 1052 w 1080"/>
                        <a:gd name="T73" fmla="*/ 598 h 756"/>
                        <a:gd name="T74" fmla="*/ 988 w 1080"/>
                        <a:gd name="T75" fmla="*/ 692 h 756"/>
                        <a:gd name="T76" fmla="*/ 884 w 1080"/>
                        <a:gd name="T77" fmla="*/ 736 h 756"/>
                        <a:gd name="T78" fmla="*/ 606 w 1080"/>
                        <a:gd name="T79" fmla="*/ 482 h 756"/>
                        <a:gd name="T80" fmla="*/ 542 w 1080"/>
                        <a:gd name="T81" fmla="*/ 514 h 756"/>
                        <a:gd name="T82" fmla="*/ 490 w 1080"/>
                        <a:gd name="T83" fmla="*/ 494 h 756"/>
                        <a:gd name="T84" fmla="*/ 464 w 1080"/>
                        <a:gd name="T85" fmla="*/ 434 h 756"/>
                        <a:gd name="T86" fmla="*/ 498 w 1080"/>
                        <a:gd name="T87" fmla="*/ 370 h 756"/>
                        <a:gd name="T88" fmla="*/ 574 w 1080"/>
                        <a:gd name="T89" fmla="*/ 362 h 756"/>
                        <a:gd name="T90" fmla="*/ 622 w 1080"/>
                        <a:gd name="T91" fmla="*/ 434 h 756"/>
                        <a:gd name="T92" fmla="*/ 216 w 1080"/>
                        <a:gd name="T93" fmla="*/ 736 h 756"/>
                        <a:gd name="T94" fmla="*/ 106 w 1080"/>
                        <a:gd name="T95" fmla="*/ 704 h 756"/>
                        <a:gd name="T96" fmla="*/ 36 w 1080"/>
                        <a:gd name="T97" fmla="*/ 616 h 756"/>
                        <a:gd name="T98" fmla="*/ 22 w 1080"/>
                        <a:gd name="T99" fmla="*/ 512 h 756"/>
                        <a:gd name="T100" fmla="*/ 56 w 1080"/>
                        <a:gd name="T101" fmla="*/ 428 h 756"/>
                        <a:gd name="T102" fmla="*/ 124 w 1080"/>
                        <a:gd name="T103" fmla="*/ 366 h 756"/>
                        <a:gd name="T104" fmla="*/ 216 w 1080"/>
                        <a:gd name="T105" fmla="*/ 342 h 756"/>
                        <a:gd name="T106" fmla="*/ 330 w 1080"/>
                        <a:gd name="T107" fmla="*/ 378 h 756"/>
                        <a:gd name="T108" fmla="*/ 406 w 1080"/>
                        <a:gd name="T109" fmla="*/ 486 h 756"/>
                        <a:gd name="T110" fmla="*/ 410 w 1080"/>
                        <a:gd name="T111" fmla="*/ 580 h 756"/>
                        <a:gd name="T112" fmla="*/ 356 w 1080"/>
                        <a:gd name="T113" fmla="*/ 680 h 756"/>
                        <a:gd name="T114" fmla="*/ 256 w 1080"/>
                        <a:gd name="T115" fmla="*/ 732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0" h="756">
                          <a:moveTo>
                            <a:pt x="1040" y="414"/>
                          </a:moveTo>
                          <a:lnTo>
                            <a:pt x="1040" y="414"/>
                          </a:lnTo>
                          <a:lnTo>
                            <a:pt x="1014" y="368"/>
                          </a:lnTo>
                          <a:lnTo>
                            <a:pt x="984" y="324"/>
                          </a:lnTo>
                          <a:lnTo>
                            <a:pt x="952" y="282"/>
                          </a:lnTo>
                          <a:lnTo>
                            <a:pt x="920" y="242"/>
                          </a:lnTo>
                          <a:lnTo>
                            <a:pt x="888" y="206"/>
                          </a:lnTo>
                          <a:lnTo>
                            <a:pt x="858" y="176"/>
                          </a:lnTo>
                          <a:lnTo>
                            <a:pt x="810" y="130"/>
                          </a:lnTo>
                          <a:lnTo>
                            <a:pt x="810" y="130"/>
                          </a:lnTo>
                          <a:lnTo>
                            <a:pt x="812" y="110"/>
                          </a:lnTo>
                          <a:lnTo>
                            <a:pt x="812" y="110"/>
                          </a:lnTo>
                          <a:lnTo>
                            <a:pt x="812" y="98"/>
                          </a:lnTo>
                          <a:lnTo>
                            <a:pt x="810" y="88"/>
                          </a:lnTo>
                          <a:lnTo>
                            <a:pt x="806" y="78"/>
                          </a:lnTo>
                          <a:lnTo>
                            <a:pt x="802" y="68"/>
                          </a:lnTo>
                          <a:lnTo>
                            <a:pt x="790" y="48"/>
                          </a:lnTo>
                          <a:lnTo>
                            <a:pt x="776" y="32"/>
                          </a:lnTo>
                          <a:lnTo>
                            <a:pt x="758" y="18"/>
                          </a:lnTo>
                          <a:lnTo>
                            <a:pt x="736" y="8"/>
                          </a:lnTo>
                          <a:lnTo>
                            <a:pt x="712" y="2"/>
                          </a:lnTo>
                          <a:lnTo>
                            <a:pt x="688" y="0"/>
                          </a:lnTo>
                          <a:lnTo>
                            <a:pt x="688" y="0"/>
                          </a:lnTo>
                          <a:lnTo>
                            <a:pt x="662" y="2"/>
                          </a:lnTo>
                          <a:lnTo>
                            <a:pt x="640" y="8"/>
                          </a:lnTo>
                          <a:lnTo>
                            <a:pt x="618" y="18"/>
                          </a:lnTo>
                          <a:lnTo>
                            <a:pt x="600" y="32"/>
                          </a:lnTo>
                          <a:lnTo>
                            <a:pt x="584" y="48"/>
                          </a:lnTo>
                          <a:lnTo>
                            <a:pt x="574" y="66"/>
                          </a:lnTo>
                          <a:lnTo>
                            <a:pt x="566" y="86"/>
                          </a:lnTo>
                          <a:lnTo>
                            <a:pt x="564" y="98"/>
                          </a:lnTo>
                          <a:lnTo>
                            <a:pt x="564" y="108"/>
                          </a:lnTo>
                          <a:lnTo>
                            <a:pt x="526" y="108"/>
                          </a:lnTo>
                          <a:lnTo>
                            <a:pt x="526" y="108"/>
                          </a:lnTo>
                          <a:lnTo>
                            <a:pt x="526" y="98"/>
                          </a:lnTo>
                          <a:lnTo>
                            <a:pt x="524" y="86"/>
                          </a:lnTo>
                          <a:lnTo>
                            <a:pt x="516" y="66"/>
                          </a:lnTo>
                          <a:lnTo>
                            <a:pt x="504" y="48"/>
                          </a:lnTo>
                          <a:lnTo>
                            <a:pt x="490" y="32"/>
                          </a:lnTo>
                          <a:lnTo>
                            <a:pt x="472" y="18"/>
                          </a:lnTo>
                          <a:lnTo>
                            <a:pt x="450" y="8"/>
                          </a:lnTo>
                          <a:lnTo>
                            <a:pt x="428" y="2"/>
                          </a:lnTo>
                          <a:lnTo>
                            <a:pt x="402" y="0"/>
                          </a:lnTo>
                          <a:lnTo>
                            <a:pt x="402" y="0"/>
                          </a:lnTo>
                          <a:lnTo>
                            <a:pt x="376" y="2"/>
                          </a:lnTo>
                          <a:lnTo>
                            <a:pt x="354" y="8"/>
                          </a:lnTo>
                          <a:lnTo>
                            <a:pt x="332" y="18"/>
                          </a:lnTo>
                          <a:lnTo>
                            <a:pt x="314" y="32"/>
                          </a:lnTo>
                          <a:lnTo>
                            <a:pt x="298" y="48"/>
                          </a:lnTo>
                          <a:lnTo>
                            <a:pt x="288" y="68"/>
                          </a:lnTo>
                          <a:lnTo>
                            <a:pt x="284" y="78"/>
                          </a:lnTo>
                          <a:lnTo>
                            <a:pt x="280" y="88"/>
                          </a:lnTo>
                          <a:lnTo>
                            <a:pt x="278" y="98"/>
                          </a:lnTo>
                          <a:lnTo>
                            <a:pt x="278" y="110"/>
                          </a:lnTo>
                          <a:lnTo>
                            <a:pt x="278" y="110"/>
                          </a:lnTo>
                          <a:lnTo>
                            <a:pt x="280" y="128"/>
                          </a:lnTo>
                          <a:lnTo>
                            <a:pt x="280" y="128"/>
                          </a:lnTo>
                          <a:lnTo>
                            <a:pt x="226" y="178"/>
                          </a:lnTo>
                          <a:lnTo>
                            <a:pt x="180" y="224"/>
                          </a:lnTo>
                          <a:lnTo>
                            <a:pt x="142" y="268"/>
                          </a:lnTo>
                          <a:lnTo>
                            <a:pt x="108" y="308"/>
                          </a:lnTo>
                          <a:lnTo>
                            <a:pt x="82" y="344"/>
                          </a:lnTo>
                          <a:lnTo>
                            <a:pt x="60" y="376"/>
                          </a:lnTo>
                          <a:lnTo>
                            <a:pt x="44" y="404"/>
                          </a:lnTo>
                          <a:lnTo>
                            <a:pt x="32" y="428"/>
                          </a:lnTo>
                          <a:lnTo>
                            <a:pt x="32" y="428"/>
                          </a:lnTo>
                          <a:lnTo>
                            <a:pt x="18" y="454"/>
                          </a:lnTo>
                          <a:lnTo>
                            <a:pt x="8" y="480"/>
                          </a:lnTo>
                          <a:lnTo>
                            <a:pt x="2" y="510"/>
                          </a:lnTo>
                          <a:lnTo>
                            <a:pt x="0" y="540"/>
                          </a:lnTo>
                          <a:lnTo>
                            <a:pt x="0" y="540"/>
                          </a:lnTo>
                          <a:lnTo>
                            <a:pt x="2" y="562"/>
                          </a:lnTo>
                          <a:lnTo>
                            <a:pt x="4" y="584"/>
                          </a:lnTo>
                          <a:lnTo>
                            <a:pt x="10" y="604"/>
                          </a:lnTo>
                          <a:lnTo>
                            <a:pt x="18" y="624"/>
                          </a:lnTo>
                          <a:lnTo>
                            <a:pt x="26" y="644"/>
                          </a:lnTo>
                          <a:lnTo>
                            <a:pt x="38" y="660"/>
                          </a:lnTo>
                          <a:lnTo>
                            <a:pt x="50" y="678"/>
                          </a:lnTo>
                          <a:lnTo>
                            <a:pt x="64" y="692"/>
                          </a:lnTo>
                          <a:lnTo>
                            <a:pt x="80" y="706"/>
                          </a:lnTo>
                          <a:lnTo>
                            <a:pt x="96" y="720"/>
                          </a:lnTo>
                          <a:lnTo>
                            <a:pt x="114" y="730"/>
                          </a:lnTo>
                          <a:lnTo>
                            <a:pt x="132" y="740"/>
                          </a:lnTo>
                          <a:lnTo>
                            <a:pt x="152" y="746"/>
                          </a:lnTo>
                          <a:lnTo>
                            <a:pt x="174" y="752"/>
                          </a:lnTo>
                          <a:lnTo>
                            <a:pt x="194" y="756"/>
                          </a:lnTo>
                          <a:lnTo>
                            <a:pt x="216" y="756"/>
                          </a:lnTo>
                          <a:lnTo>
                            <a:pt x="216" y="756"/>
                          </a:lnTo>
                          <a:lnTo>
                            <a:pt x="240" y="756"/>
                          </a:lnTo>
                          <a:lnTo>
                            <a:pt x="260" y="752"/>
                          </a:lnTo>
                          <a:lnTo>
                            <a:pt x="282" y="746"/>
                          </a:lnTo>
                          <a:lnTo>
                            <a:pt x="302" y="740"/>
                          </a:lnTo>
                          <a:lnTo>
                            <a:pt x="320" y="730"/>
                          </a:lnTo>
                          <a:lnTo>
                            <a:pt x="338" y="720"/>
                          </a:lnTo>
                          <a:lnTo>
                            <a:pt x="354" y="706"/>
                          </a:lnTo>
                          <a:lnTo>
                            <a:pt x="370" y="692"/>
                          </a:lnTo>
                          <a:lnTo>
                            <a:pt x="384" y="678"/>
                          </a:lnTo>
                          <a:lnTo>
                            <a:pt x="396" y="660"/>
                          </a:lnTo>
                          <a:lnTo>
                            <a:pt x="408" y="644"/>
                          </a:lnTo>
                          <a:lnTo>
                            <a:pt x="416" y="624"/>
                          </a:lnTo>
                          <a:lnTo>
                            <a:pt x="424" y="604"/>
                          </a:lnTo>
                          <a:lnTo>
                            <a:pt x="430" y="584"/>
                          </a:lnTo>
                          <a:lnTo>
                            <a:pt x="432" y="562"/>
                          </a:lnTo>
                          <a:lnTo>
                            <a:pt x="434" y="540"/>
                          </a:lnTo>
                          <a:lnTo>
                            <a:pt x="434" y="540"/>
                          </a:lnTo>
                          <a:lnTo>
                            <a:pt x="432" y="518"/>
                          </a:lnTo>
                          <a:lnTo>
                            <a:pt x="430" y="496"/>
                          </a:lnTo>
                          <a:lnTo>
                            <a:pt x="430" y="496"/>
                          </a:lnTo>
                          <a:lnTo>
                            <a:pt x="438" y="510"/>
                          </a:lnTo>
                          <a:lnTo>
                            <a:pt x="450" y="524"/>
                          </a:lnTo>
                          <a:lnTo>
                            <a:pt x="462" y="536"/>
                          </a:lnTo>
                          <a:lnTo>
                            <a:pt x="476" y="546"/>
                          </a:lnTo>
                          <a:lnTo>
                            <a:pt x="492" y="554"/>
                          </a:lnTo>
                          <a:lnTo>
                            <a:pt x="508" y="560"/>
                          </a:lnTo>
                          <a:lnTo>
                            <a:pt x="524" y="562"/>
                          </a:lnTo>
                          <a:lnTo>
                            <a:pt x="542" y="564"/>
                          </a:lnTo>
                          <a:lnTo>
                            <a:pt x="542" y="564"/>
                          </a:lnTo>
                          <a:lnTo>
                            <a:pt x="560" y="562"/>
                          </a:lnTo>
                          <a:lnTo>
                            <a:pt x="574" y="560"/>
                          </a:lnTo>
                          <a:lnTo>
                            <a:pt x="590" y="556"/>
                          </a:lnTo>
                          <a:lnTo>
                            <a:pt x="604" y="548"/>
                          </a:lnTo>
                          <a:lnTo>
                            <a:pt x="616" y="540"/>
                          </a:lnTo>
                          <a:lnTo>
                            <a:pt x="628" y="530"/>
                          </a:lnTo>
                          <a:lnTo>
                            <a:pt x="640" y="520"/>
                          </a:lnTo>
                          <a:lnTo>
                            <a:pt x="650" y="508"/>
                          </a:lnTo>
                          <a:lnTo>
                            <a:pt x="650" y="508"/>
                          </a:lnTo>
                          <a:lnTo>
                            <a:pt x="648" y="524"/>
                          </a:lnTo>
                          <a:lnTo>
                            <a:pt x="646" y="540"/>
                          </a:lnTo>
                          <a:lnTo>
                            <a:pt x="646" y="540"/>
                          </a:lnTo>
                          <a:lnTo>
                            <a:pt x="648" y="562"/>
                          </a:lnTo>
                          <a:lnTo>
                            <a:pt x="650" y="584"/>
                          </a:lnTo>
                          <a:lnTo>
                            <a:pt x="656" y="604"/>
                          </a:lnTo>
                          <a:lnTo>
                            <a:pt x="664" y="624"/>
                          </a:lnTo>
                          <a:lnTo>
                            <a:pt x="672" y="644"/>
                          </a:lnTo>
                          <a:lnTo>
                            <a:pt x="684" y="660"/>
                          </a:lnTo>
                          <a:lnTo>
                            <a:pt x="696" y="678"/>
                          </a:lnTo>
                          <a:lnTo>
                            <a:pt x="710" y="692"/>
                          </a:lnTo>
                          <a:lnTo>
                            <a:pt x="726" y="706"/>
                          </a:lnTo>
                          <a:lnTo>
                            <a:pt x="742" y="720"/>
                          </a:lnTo>
                          <a:lnTo>
                            <a:pt x="760" y="730"/>
                          </a:lnTo>
                          <a:lnTo>
                            <a:pt x="778" y="740"/>
                          </a:lnTo>
                          <a:lnTo>
                            <a:pt x="798" y="746"/>
                          </a:lnTo>
                          <a:lnTo>
                            <a:pt x="820" y="752"/>
                          </a:lnTo>
                          <a:lnTo>
                            <a:pt x="842" y="756"/>
                          </a:lnTo>
                          <a:lnTo>
                            <a:pt x="864" y="756"/>
                          </a:lnTo>
                          <a:lnTo>
                            <a:pt x="864" y="756"/>
                          </a:lnTo>
                          <a:lnTo>
                            <a:pt x="886" y="756"/>
                          </a:lnTo>
                          <a:lnTo>
                            <a:pt x="906" y="752"/>
                          </a:lnTo>
                          <a:lnTo>
                            <a:pt x="928" y="746"/>
                          </a:lnTo>
                          <a:lnTo>
                            <a:pt x="948" y="740"/>
                          </a:lnTo>
                          <a:lnTo>
                            <a:pt x="966" y="730"/>
                          </a:lnTo>
                          <a:lnTo>
                            <a:pt x="984" y="720"/>
                          </a:lnTo>
                          <a:lnTo>
                            <a:pt x="1000" y="706"/>
                          </a:lnTo>
                          <a:lnTo>
                            <a:pt x="1016" y="692"/>
                          </a:lnTo>
                          <a:lnTo>
                            <a:pt x="1030" y="678"/>
                          </a:lnTo>
                          <a:lnTo>
                            <a:pt x="1042" y="660"/>
                          </a:lnTo>
                          <a:lnTo>
                            <a:pt x="1054" y="644"/>
                          </a:lnTo>
                          <a:lnTo>
                            <a:pt x="1062" y="624"/>
                          </a:lnTo>
                          <a:lnTo>
                            <a:pt x="1070" y="604"/>
                          </a:lnTo>
                          <a:lnTo>
                            <a:pt x="1076" y="584"/>
                          </a:lnTo>
                          <a:lnTo>
                            <a:pt x="1078" y="562"/>
                          </a:lnTo>
                          <a:lnTo>
                            <a:pt x="1080" y="540"/>
                          </a:lnTo>
                          <a:lnTo>
                            <a:pt x="1080" y="540"/>
                          </a:lnTo>
                          <a:lnTo>
                            <a:pt x="1080" y="522"/>
                          </a:lnTo>
                          <a:lnTo>
                            <a:pt x="1076" y="506"/>
                          </a:lnTo>
                          <a:lnTo>
                            <a:pt x="1074" y="488"/>
                          </a:lnTo>
                          <a:lnTo>
                            <a:pt x="1068" y="472"/>
                          </a:lnTo>
                          <a:lnTo>
                            <a:pt x="1064" y="458"/>
                          </a:lnTo>
                          <a:lnTo>
                            <a:pt x="1056" y="442"/>
                          </a:lnTo>
                          <a:lnTo>
                            <a:pt x="1048" y="428"/>
                          </a:lnTo>
                          <a:lnTo>
                            <a:pt x="1040" y="414"/>
                          </a:lnTo>
                          <a:lnTo>
                            <a:pt x="1040" y="414"/>
                          </a:lnTo>
                          <a:close/>
                          <a:moveTo>
                            <a:pt x="864" y="736"/>
                          </a:moveTo>
                          <a:lnTo>
                            <a:pt x="864" y="736"/>
                          </a:lnTo>
                          <a:lnTo>
                            <a:pt x="844" y="736"/>
                          </a:lnTo>
                          <a:lnTo>
                            <a:pt x="824" y="732"/>
                          </a:lnTo>
                          <a:lnTo>
                            <a:pt x="804" y="728"/>
                          </a:lnTo>
                          <a:lnTo>
                            <a:pt x="786" y="722"/>
                          </a:lnTo>
                          <a:lnTo>
                            <a:pt x="770" y="714"/>
                          </a:lnTo>
                          <a:lnTo>
                            <a:pt x="754" y="704"/>
                          </a:lnTo>
                          <a:lnTo>
                            <a:pt x="738" y="692"/>
                          </a:lnTo>
                          <a:lnTo>
                            <a:pt x="724" y="680"/>
                          </a:lnTo>
                          <a:lnTo>
                            <a:pt x="712" y="666"/>
                          </a:lnTo>
                          <a:lnTo>
                            <a:pt x="700" y="650"/>
                          </a:lnTo>
                          <a:lnTo>
                            <a:pt x="690" y="634"/>
                          </a:lnTo>
                          <a:lnTo>
                            <a:pt x="682" y="616"/>
                          </a:lnTo>
                          <a:lnTo>
                            <a:pt x="676" y="598"/>
                          </a:lnTo>
                          <a:lnTo>
                            <a:pt x="670" y="580"/>
                          </a:lnTo>
                          <a:lnTo>
                            <a:pt x="668" y="560"/>
                          </a:lnTo>
                          <a:lnTo>
                            <a:pt x="666" y="540"/>
                          </a:lnTo>
                          <a:lnTo>
                            <a:pt x="666" y="540"/>
                          </a:lnTo>
                          <a:lnTo>
                            <a:pt x="668" y="518"/>
                          </a:lnTo>
                          <a:lnTo>
                            <a:pt x="670" y="498"/>
                          </a:lnTo>
                          <a:lnTo>
                            <a:pt x="676" y="476"/>
                          </a:lnTo>
                          <a:lnTo>
                            <a:pt x="684" y="458"/>
                          </a:lnTo>
                          <a:lnTo>
                            <a:pt x="684" y="458"/>
                          </a:lnTo>
                          <a:lnTo>
                            <a:pt x="698" y="434"/>
                          </a:lnTo>
                          <a:lnTo>
                            <a:pt x="714" y="412"/>
                          </a:lnTo>
                          <a:lnTo>
                            <a:pt x="734" y="392"/>
                          </a:lnTo>
                          <a:lnTo>
                            <a:pt x="756" y="374"/>
                          </a:lnTo>
                          <a:lnTo>
                            <a:pt x="780" y="362"/>
                          </a:lnTo>
                          <a:lnTo>
                            <a:pt x="806" y="352"/>
                          </a:lnTo>
                          <a:lnTo>
                            <a:pt x="834" y="344"/>
                          </a:lnTo>
                          <a:lnTo>
                            <a:pt x="864" y="342"/>
                          </a:lnTo>
                          <a:lnTo>
                            <a:pt x="864" y="342"/>
                          </a:lnTo>
                          <a:lnTo>
                            <a:pt x="890" y="344"/>
                          </a:lnTo>
                          <a:lnTo>
                            <a:pt x="916" y="350"/>
                          </a:lnTo>
                          <a:lnTo>
                            <a:pt x="940" y="358"/>
                          </a:lnTo>
                          <a:lnTo>
                            <a:pt x="964" y="370"/>
                          </a:lnTo>
                          <a:lnTo>
                            <a:pt x="984" y="386"/>
                          </a:lnTo>
                          <a:lnTo>
                            <a:pt x="1004" y="402"/>
                          </a:lnTo>
                          <a:lnTo>
                            <a:pt x="1020" y="422"/>
                          </a:lnTo>
                          <a:lnTo>
                            <a:pt x="1034" y="444"/>
                          </a:lnTo>
                          <a:lnTo>
                            <a:pt x="1034" y="444"/>
                          </a:lnTo>
                          <a:lnTo>
                            <a:pt x="1046" y="466"/>
                          </a:lnTo>
                          <a:lnTo>
                            <a:pt x="1054" y="490"/>
                          </a:lnTo>
                          <a:lnTo>
                            <a:pt x="1058" y="514"/>
                          </a:lnTo>
                          <a:lnTo>
                            <a:pt x="1060" y="540"/>
                          </a:lnTo>
                          <a:lnTo>
                            <a:pt x="1060" y="540"/>
                          </a:lnTo>
                          <a:lnTo>
                            <a:pt x="1060" y="560"/>
                          </a:lnTo>
                          <a:lnTo>
                            <a:pt x="1056" y="580"/>
                          </a:lnTo>
                          <a:lnTo>
                            <a:pt x="1052" y="598"/>
                          </a:lnTo>
                          <a:lnTo>
                            <a:pt x="1044" y="616"/>
                          </a:lnTo>
                          <a:lnTo>
                            <a:pt x="1036" y="634"/>
                          </a:lnTo>
                          <a:lnTo>
                            <a:pt x="1026" y="650"/>
                          </a:lnTo>
                          <a:lnTo>
                            <a:pt x="1016" y="666"/>
                          </a:lnTo>
                          <a:lnTo>
                            <a:pt x="1002" y="680"/>
                          </a:lnTo>
                          <a:lnTo>
                            <a:pt x="988" y="692"/>
                          </a:lnTo>
                          <a:lnTo>
                            <a:pt x="974" y="704"/>
                          </a:lnTo>
                          <a:lnTo>
                            <a:pt x="958" y="714"/>
                          </a:lnTo>
                          <a:lnTo>
                            <a:pt x="940" y="722"/>
                          </a:lnTo>
                          <a:lnTo>
                            <a:pt x="922" y="728"/>
                          </a:lnTo>
                          <a:lnTo>
                            <a:pt x="902" y="732"/>
                          </a:lnTo>
                          <a:lnTo>
                            <a:pt x="884" y="736"/>
                          </a:lnTo>
                          <a:lnTo>
                            <a:pt x="864" y="736"/>
                          </a:lnTo>
                          <a:lnTo>
                            <a:pt x="864" y="736"/>
                          </a:lnTo>
                          <a:close/>
                          <a:moveTo>
                            <a:pt x="616" y="460"/>
                          </a:moveTo>
                          <a:lnTo>
                            <a:pt x="616" y="460"/>
                          </a:lnTo>
                          <a:lnTo>
                            <a:pt x="612" y="472"/>
                          </a:lnTo>
                          <a:lnTo>
                            <a:pt x="606" y="482"/>
                          </a:lnTo>
                          <a:lnTo>
                            <a:pt x="598" y="490"/>
                          </a:lnTo>
                          <a:lnTo>
                            <a:pt x="588" y="498"/>
                          </a:lnTo>
                          <a:lnTo>
                            <a:pt x="578" y="504"/>
                          </a:lnTo>
                          <a:lnTo>
                            <a:pt x="568" y="510"/>
                          </a:lnTo>
                          <a:lnTo>
                            <a:pt x="556" y="512"/>
                          </a:lnTo>
                          <a:lnTo>
                            <a:pt x="542" y="514"/>
                          </a:lnTo>
                          <a:lnTo>
                            <a:pt x="542" y="514"/>
                          </a:lnTo>
                          <a:lnTo>
                            <a:pt x="530" y="512"/>
                          </a:lnTo>
                          <a:lnTo>
                            <a:pt x="520" y="510"/>
                          </a:lnTo>
                          <a:lnTo>
                            <a:pt x="510" y="506"/>
                          </a:lnTo>
                          <a:lnTo>
                            <a:pt x="500" y="500"/>
                          </a:lnTo>
                          <a:lnTo>
                            <a:pt x="490" y="494"/>
                          </a:lnTo>
                          <a:lnTo>
                            <a:pt x="482" y="486"/>
                          </a:lnTo>
                          <a:lnTo>
                            <a:pt x="476" y="476"/>
                          </a:lnTo>
                          <a:lnTo>
                            <a:pt x="470" y="466"/>
                          </a:lnTo>
                          <a:lnTo>
                            <a:pt x="470" y="466"/>
                          </a:lnTo>
                          <a:lnTo>
                            <a:pt x="466" y="450"/>
                          </a:lnTo>
                          <a:lnTo>
                            <a:pt x="464" y="434"/>
                          </a:lnTo>
                          <a:lnTo>
                            <a:pt x="464" y="434"/>
                          </a:lnTo>
                          <a:lnTo>
                            <a:pt x="466" y="418"/>
                          </a:lnTo>
                          <a:lnTo>
                            <a:pt x="470" y="404"/>
                          </a:lnTo>
                          <a:lnTo>
                            <a:pt x="478" y="390"/>
                          </a:lnTo>
                          <a:lnTo>
                            <a:pt x="488" y="380"/>
                          </a:lnTo>
                          <a:lnTo>
                            <a:pt x="498" y="370"/>
                          </a:lnTo>
                          <a:lnTo>
                            <a:pt x="512" y="362"/>
                          </a:lnTo>
                          <a:lnTo>
                            <a:pt x="526" y="358"/>
                          </a:lnTo>
                          <a:lnTo>
                            <a:pt x="542" y="356"/>
                          </a:lnTo>
                          <a:lnTo>
                            <a:pt x="542" y="356"/>
                          </a:lnTo>
                          <a:lnTo>
                            <a:pt x="558" y="358"/>
                          </a:lnTo>
                          <a:lnTo>
                            <a:pt x="574" y="362"/>
                          </a:lnTo>
                          <a:lnTo>
                            <a:pt x="586" y="370"/>
                          </a:lnTo>
                          <a:lnTo>
                            <a:pt x="598" y="380"/>
                          </a:lnTo>
                          <a:lnTo>
                            <a:pt x="608" y="390"/>
                          </a:lnTo>
                          <a:lnTo>
                            <a:pt x="616" y="404"/>
                          </a:lnTo>
                          <a:lnTo>
                            <a:pt x="620" y="418"/>
                          </a:lnTo>
                          <a:lnTo>
                            <a:pt x="622" y="434"/>
                          </a:lnTo>
                          <a:lnTo>
                            <a:pt x="622" y="434"/>
                          </a:lnTo>
                          <a:lnTo>
                            <a:pt x="620" y="448"/>
                          </a:lnTo>
                          <a:lnTo>
                            <a:pt x="616" y="460"/>
                          </a:lnTo>
                          <a:lnTo>
                            <a:pt x="616" y="460"/>
                          </a:lnTo>
                          <a:close/>
                          <a:moveTo>
                            <a:pt x="216" y="736"/>
                          </a:moveTo>
                          <a:lnTo>
                            <a:pt x="216" y="736"/>
                          </a:lnTo>
                          <a:lnTo>
                            <a:pt x="196" y="736"/>
                          </a:lnTo>
                          <a:lnTo>
                            <a:pt x="178" y="732"/>
                          </a:lnTo>
                          <a:lnTo>
                            <a:pt x="158" y="728"/>
                          </a:lnTo>
                          <a:lnTo>
                            <a:pt x="140" y="722"/>
                          </a:lnTo>
                          <a:lnTo>
                            <a:pt x="124" y="714"/>
                          </a:lnTo>
                          <a:lnTo>
                            <a:pt x="106" y="704"/>
                          </a:lnTo>
                          <a:lnTo>
                            <a:pt x="92" y="692"/>
                          </a:lnTo>
                          <a:lnTo>
                            <a:pt x="78" y="680"/>
                          </a:lnTo>
                          <a:lnTo>
                            <a:pt x="64" y="666"/>
                          </a:lnTo>
                          <a:lnTo>
                            <a:pt x="54" y="650"/>
                          </a:lnTo>
                          <a:lnTo>
                            <a:pt x="44" y="634"/>
                          </a:lnTo>
                          <a:lnTo>
                            <a:pt x="36" y="616"/>
                          </a:lnTo>
                          <a:lnTo>
                            <a:pt x="28" y="598"/>
                          </a:lnTo>
                          <a:lnTo>
                            <a:pt x="24" y="580"/>
                          </a:lnTo>
                          <a:lnTo>
                            <a:pt x="20" y="560"/>
                          </a:lnTo>
                          <a:lnTo>
                            <a:pt x="20" y="540"/>
                          </a:lnTo>
                          <a:lnTo>
                            <a:pt x="20" y="540"/>
                          </a:lnTo>
                          <a:lnTo>
                            <a:pt x="22" y="512"/>
                          </a:lnTo>
                          <a:lnTo>
                            <a:pt x="28" y="484"/>
                          </a:lnTo>
                          <a:lnTo>
                            <a:pt x="28" y="484"/>
                          </a:lnTo>
                          <a:lnTo>
                            <a:pt x="34" y="468"/>
                          </a:lnTo>
                          <a:lnTo>
                            <a:pt x="40" y="454"/>
                          </a:lnTo>
                          <a:lnTo>
                            <a:pt x="46" y="440"/>
                          </a:lnTo>
                          <a:lnTo>
                            <a:pt x="56" y="428"/>
                          </a:lnTo>
                          <a:lnTo>
                            <a:pt x="64" y="416"/>
                          </a:lnTo>
                          <a:lnTo>
                            <a:pt x="74" y="404"/>
                          </a:lnTo>
                          <a:lnTo>
                            <a:pt x="86" y="392"/>
                          </a:lnTo>
                          <a:lnTo>
                            <a:pt x="98" y="382"/>
                          </a:lnTo>
                          <a:lnTo>
                            <a:pt x="110" y="374"/>
                          </a:lnTo>
                          <a:lnTo>
                            <a:pt x="124" y="366"/>
                          </a:lnTo>
                          <a:lnTo>
                            <a:pt x="138" y="360"/>
                          </a:lnTo>
                          <a:lnTo>
                            <a:pt x="154" y="354"/>
                          </a:lnTo>
                          <a:lnTo>
                            <a:pt x="168" y="348"/>
                          </a:lnTo>
                          <a:lnTo>
                            <a:pt x="184" y="346"/>
                          </a:lnTo>
                          <a:lnTo>
                            <a:pt x="200" y="344"/>
                          </a:lnTo>
                          <a:lnTo>
                            <a:pt x="216" y="342"/>
                          </a:lnTo>
                          <a:lnTo>
                            <a:pt x="216" y="342"/>
                          </a:lnTo>
                          <a:lnTo>
                            <a:pt x="232" y="344"/>
                          </a:lnTo>
                          <a:lnTo>
                            <a:pt x="248" y="346"/>
                          </a:lnTo>
                          <a:lnTo>
                            <a:pt x="276" y="352"/>
                          </a:lnTo>
                          <a:lnTo>
                            <a:pt x="304" y="364"/>
                          </a:lnTo>
                          <a:lnTo>
                            <a:pt x="330" y="378"/>
                          </a:lnTo>
                          <a:lnTo>
                            <a:pt x="352" y="396"/>
                          </a:lnTo>
                          <a:lnTo>
                            <a:pt x="372" y="418"/>
                          </a:lnTo>
                          <a:lnTo>
                            <a:pt x="388" y="442"/>
                          </a:lnTo>
                          <a:lnTo>
                            <a:pt x="400" y="468"/>
                          </a:lnTo>
                          <a:lnTo>
                            <a:pt x="400" y="468"/>
                          </a:lnTo>
                          <a:lnTo>
                            <a:pt x="406" y="486"/>
                          </a:lnTo>
                          <a:lnTo>
                            <a:pt x="410" y="504"/>
                          </a:lnTo>
                          <a:lnTo>
                            <a:pt x="414" y="522"/>
                          </a:lnTo>
                          <a:lnTo>
                            <a:pt x="414" y="540"/>
                          </a:lnTo>
                          <a:lnTo>
                            <a:pt x="414" y="540"/>
                          </a:lnTo>
                          <a:lnTo>
                            <a:pt x="412" y="560"/>
                          </a:lnTo>
                          <a:lnTo>
                            <a:pt x="410" y="580"/>
                          </a:lnTo>
                          <a:lnTo>
                            <a:pt x="406" y="598"/>
                          </a:lnTo>
                          <a:lnTo>
                            <a:pt x="398" y="616"/>
                          </a:lnTo>
                          <a:lnTo>
                            <a:pt x="390" y="634"/>
                          </a:lnTo>
                          <a:lnTo>
                            <a:pt x="380" y="650"/>
                          </a:lnTo>
                          <a:lnTo>
                            <a:pt x="368" y="666"/>
                          </a:lnTo>
                          <a:lnTo>
                            <a:pt x="356" y="680"/>
                          </a:lnTo>
                          <a:lnTo>
                            <a:pt x="342" y="692"/>
                          </a:lnTo>
                          <a:lnTo>
                            <a:pt x="328" y="704"/>
                          </a:lnTo>
                          <a:lnTo>
                            <a:pt x="310" y="714"/>
                          </a:lnTo>
                          <a:lnTo>
                            <a:pt x="294" y="722"/>
                          </a:lnTo>
                          <a:lnTo>
                            <a:pt x="276" y="728"/>
                          </a:lnTo>
                          <a:lnTo>
                            <a:pt x="256" y="732"/>
                          </a:lnTo>
                          <a:lnTo>
                            <a:pt x="238" y="736"/>
                          </a:lnTo>
                          <a:lnTo>
                            <a:pt x="216" y="736"/>
                          </a:lnTo>
                          <a:lnTo>
                            <a:pt x="216" y="73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0" name="TextBox 69">
                      <a:extLst>
                        <a:ext uri="{FF2B5EF4-FFF2-40B4-BE49-F238E27FC236}">
                          <a16:creationId xmlns:a16="http://schemas.microsoft.com/office/drawing/2014/main" id="{972B06D9-C831-4E67-BC19-9C45BB409E7F}"/>
                        </a:ext>
                      </a:extLst>
                    </p:cNvPr>
                    <p:cNvSpPr txBox="1"/>
                    <p:nvPr/>
                  </p:nvSpPr>
                  <p:spPr>
                    <a:xfrm>
                      <a:off x="12547555" y="8938382"/>
                      <a:ext cx="1368092" cy="4615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ruyề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hông</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1" name="Freeform 109">
                      <a:extLst>
                        <a:ext uri="{FF2B5EF4-FFF2-40B4-BE49-F238E27FC236}">
                          <a16:creationId xmlns:a16="http://schemas.microsoft.com/office/drawing/2014/main" id="{D3245960-92C7-46DE-B07A-A16EC69BCE83}"/>
                        </a:ext>
                      </a:extLst>
                    </p:cNvPr>
                    <p:cNvSpPr>
                      <a:spLocks noChangeAspect="1" noEditPoints="1"/>
                    </p:cNvSpPr>
                    <p:nvPr/>
                  </p:nvSpPr>
                  <p:spPr bwMode="auto">
                    <a:xfrm>
                      <a:off x="12049549" y="8477571"/>
                      <a:ext cx="372142" cy="352951"/>
                    </a:xfrm>
                    <a:custGeom>
                      <a:avLst/>
                      <a:gdLst>
                        <a:gd name="T0" fmla="*/ 691 w 733"/>
                        <a:gd name="T1" fmla="*/ 557 h 632"/>
                        <a:gd name="T2" fmla="*/ 701 w 733"/>
                        <a:gd name="T3" fmla="*/ 378 h 632"/>
                        <a:gd name="T4" fmla="*/ 505 w 733"/>
                        <a:gd name="T5" fmla="*/ 342 h 632"/>
                        <a:gd name="T6" fmla="*/ 515 w 733"/>
                        <a:gd name="T7" fmla="*/ 245 h 632"/>
                        <a:gd name="T8" fmla="*/ 498 w 733"/>
                        <a:gd name="T9" fmla="*/ 234 h 632"/>
                        <a:gd name="T10" fmla="*/ 489 w 733"/>
                        <a:gd name="T11" fmla="*/ 202 h 632"/>
                        <a:gd name="T12" fmla="*/ 471 w 733"/>
                        <a:gd name="T13" fmla="*/ 174 h 632"/>
                        <a:gd name="T14" fmla="*/ 449 w 733"/>
                        <a:gd name="T15" fmla="*/ 151 h 632"/>
                        <a:gd name="T16" fmla="*/ 420 w 733"/>
                        <a:gd name="T17" fmla="*/ 133 h 632"/>
                        <a:gd name="T18" fmla="*/ 389 w 733"/>
                        <a:gd name="T19" fmla="*/ 124 h 632"/>
                        <a:gd name="T20" fmla="*/ 389 w 733"/>
                        <a:gd name="T21" fmla="*/ 122 h 632"/>
                        <a:gd name="T22" fmla="*/ 382 w 733"/>
                        <a:gd name="T23" fmla="*/ 106 h 632"/>
                        <a:gd name="T24" fmla="*/ 371 w 733"/>
                        <a:gd name="T25" fmla="*/ 42 h 632"/>
                        <a:gd name="T26" fmla="*/ 362 w 733"/>
                        <a:gd name="T27" fmla="*/ 42 h 632"/>
                        <a:gd name="T28" fmla="*/ 352 w 733"/>
                        <a:gd name="T29" fmla="*/ 106 h 632"/>
                        <a:gd name="T30" fmla="*/ 345 w 733"/>
                        <a:gd name="T31" fmla="*/ 122 h 632"/>
                        <a:gd name="T32" fmla="*/ 345 w 733"/>
                        <a:gd name="T33" fmla="*/ 124 h 632"/>
                        <a:gd name="T34" fmla="*/ 315 w 733"/>
                        <a:gd name="T35" fmla="*/ 133 h 632"/>
                        <a:gd name="T36" fmla="*/ 289 w 733"/>
                        <a:gd name="T37" fmla="*/ 147 h 632"/>
                        <a:gd name="T38" fmla="*/ 267 w 733"/>
                        <a:gd name="T39" fmla="*/ 168 h 632"/>
                        <a:gd name="T40" fmla="*/ 249 w 733"/>
                        <a:gd name="T41" fmla="*/ 193 h 632"/>
                        <a:gd name="T42" fmla="*/ 238 w 733"/>
                        <a:gd name="T43" fmla="*/ 222 h 632"/>
                        <a:gd name="T44" fmla="*/ 325 w 733"/>
                        <a:gd name="T45" fmla="*/ 233 h 632"/>
                        <a:gd name="T46" fmla="*/ 331 w 733"/>
                        <a:gd name="T47" fmla="*/ 236 h 632"/>
                        <a:gd name="T48" fmla="*/ 331 w 733"/>
                        <a:gd name="T49" fmla="*/ 241 h 632"/>
                        <a:gd name="T50" fmla="*/ 325 w 733"/>
                        <a:gd name="T51" fmla="*/ 245 h 632"/>
                        <a:gd name="T52" fmla="*/ 229 w 733"/>
                        <a:gd name="T53" fmla="*/ 275 h 632"/>
                        <a:gd name="T54" fmla="*/ 33 w 733"/>
                        <a:gd name="T55" fmla="*/ 377 h 632"/>
                        <a:gd name="T56" fmla="*/ 42 w 733"/>
                        <a:gd name="T57" fmla="*/ 557 h 632"/>
                        <a:gd name="T58" fmla="*/ 0 w 733"/>
                        <a:gd name="T59" fmla="*/ 592 h 632"/>
                        <a:gd name="T60" fmla="*/ 733 w 733"/>
                        <a:gd name="T61" fmla="*/ 592 h 632"/>
                        <a:gd name="T62" fmla="*/ 452 w 733"/>
                        <a:gd name="T63" fmla="*/ 282 h 632"/>
                        <a:gd name="T64" fmla="*/ 418 w 733"/>
                        <a:gd name="T65" fmla="*/ 282 h 632"/>
                        <a:gd name="T66" fmla="*/ 386 w 733"/>
                        <a:gd name="T67" fmla="*/ 331 h 632"/>
                        <a:gd name="T68" fmla="*/ 281 w 733"/>
                        <a:gd name="T69" fmla="*/ 282 h 632"/>
                        <a:gd name="T70" fmla="*/ 281 w 733"/>
                        <a:gd name="T71" fmla="*/ 331 h 632"/>
                        <a:gd name="T72" fmla="*/ 91 w 733"/>
                        <a:gd name="T73" fmla="*/ 568 h 632"/>
                        <a:gd name="T74" fmla="*/ 125 w 733"/>
                        <a:gd name="T75" fmla="*/ 568 h 632"/>
                        <a:gd name="T76" fmla="*/ 91 w 733"/>
                        <a:gd name="T77" fmla="*/ 427 h 632"/>
                        <a:gd name="T78" fmla="*/ 193 w 733"/>
                        <a:gd name="T79" fmla="*/ 568 h 632"/>
                        <a:gd name="T80" fmla="*/ 193 w 733"/>
                        <a:gd name="T81" fmla="*/ 519 h 632"/>
                        <a:gd name="T82" fmla="*/ 160 w 733"/>
                        <a:gd name="T83" fmla="*/ 476 h 632"/>
                        <a:gd name="T84" fmla="*/ 193 w 733"/>
                        <a:gd name="T85" fmla="*/ 476 h 632"/>
                        <a:gd name="T86" fmla="*/ 482 w 733"/>
                        <a:gd name="T87" fmla="*/ 592 h 632"/>
                        <a:gd name="T88" fmla="*/ 415 w 733"/>
                        <a:gd name="T89" fmla="*/ 447 h 632"/>
                        <a:gd name="T90" fmla="*/ 384 w 733"/>
                        <a:gd name="T91" fmla="*/ 447 h 632"/>
                        <a:gd name="T92" fmla="*/ 319 w 733"/>
                        <a:gd name="T93" fmla="*/ 592 h 632"/>
                        <a:gd name="T94" fmla="*/ 285 w 733"/>
                        <a:gd name="T95" fmla="*/ 592 h 632"/>
                        <a:gd name="T96" fmla="*/ 229 w 733"/>
                        <a:gd name="T97" fmla="*/ 447 h 632"/>
                        <a:gd name="T98" fmla="*/ 505 w 733"/>
                        <a:gd name="T99" fmla="*/ 420 h 632"/>
                        <a:gd name="T100" fmla="*/ 541 w 733"/>
                        <a:gd name="T101" fmla="*/ 568 h 632"/>
                        <a:gd name="T102" fmla="*/ 574 w 733"/>
                        <a:gd name="T103" fmla="*/ 568 h 632"/>
                        <a:gd name="T104" fmla="*/ 541 w 733"/>
                        <a:gd name="T105" fmla="*/ 427 h 632"/>
                        <a:gd name="T106" fmla="*/ 643 w 733"/>
                        <a:gd name="T107" fmla="*/ 568 h 632"/>
                        <a:gd name="T108" fmla="*/ 643 w 733"/>
                        <a:gd name="T109" fmla="*/ 519 h 632"/>
                        <a:gd name="T110" fmla="*/ 609 w 733"/>
                        <a:gd name="T111" fmla="*/ 476 h 632"/>
                        <a:gd name="T112" fmla="*/ 643 w 733"/>
                        <a:gd name="T113" fmla="*/ 476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3" h="632">
                          <a:moveTo>
                            <a:pt x="714" y="592"/>
                          </a:moveTo>
                          <a:lnTo>
                            <a:pt x="714" y="557"/>
                          </a:lnTo>
                          <a:lnTo>
                            <a:pt x="691" y="557"/>
                          </a:lnTo>
                          <a:lnTo>
                            <a:pt x="691" y="406"/>
                          </a:lnTo>
                          <a:lnTo>
                            <a:pt x="701" y="406"/>
                          </a:lnTo>
                          <a:lnTo>
                            <a:pt x="701" y="378"/>
                          </a:lnTo>
                          <a:lnTo>
                            <a:pt x="691" y="378"/>
                          </a:lnTo>
                          <a:lnTo>
                            <a:pt x="691" y="377"/>
                          </a:lnTo>
                          <a:lnTo>
                            <a:pt x="505" y="342"/>
                          </a:lnTo>
                          <a:lnTo>
                            <a:pt x="505" y="275"/>
                          </a:lnTo>
                          <a:lnTo>
                            <a:pt x="515" y="275"/>
                          </a:lnTo>
                          <a:lnTo>
                            <a:pt x="515" y="245"/>
                          </a:lnTo>
                          <a:lnTo>
                            <a:pt x="499" y="245"/>
                          </a:lnTo>
                          <a:lnTo>
                            <a:pt x="499" y="245"/>
                          </a:lnTo>
                          <a:lnTo>
                            <a:pt x="498" y="234"/>
                          </a:lnTo>
                          <a:lnTo>
                            <a:pt x="496" y="223"/>
                          </a:lnTo>
                          <a:lnTo>
                            <a:pt x="493" y="213"/>
                          </a:lnTo>
                          <a:lnTo>
                            <a:pt x="489" y="202"/>
                          </a:lnTo>
                          <a:lnTo>
                            <a:pt x="484" y="192"/>
                          </a:lnTo>
                          <a:lnTo>
                            <a:pt x="478" y="183"/>
                          </a:lnTo>
                          <a:lnTo>
                            <a:pt x="471" y="174"/>
                          </a:lnTo>
                          <a:lnTo>
                            <a:pt x="464" y="166"/>
                          </a:lnTo>
                          <a:lnTo>
                            <a:pt x="457" y="158"/>
                          </a:lnTo>
                          <a:lnTo>
                            <a:pt x="449" y="151"/>
                          </a:lnTo>
                          <a:lnTo>
                            <a:pt x="440" y="144"/>
                          </a:lnTo>
                          <a:lnTo>
                            <a:pt x="431" y="138"/>
                          </a:lnTo>
                          <a:lnTo>
                            <a:pt x="420" y="133"/>
                          </a:lnTo>
                          <a:lnTo>
                            <a:pt x="410" y="129"/>
                          </a:lnTo>
                          <a:lnTo>
                            <a:pt x="400" y="126"/>
                          </a:lnTo>
                          <a:lnTo>
                            <a:pt x="389" y="124"/>
                          </a:lnTo>
                          <a:lnTo>
                            <a:pt x="389" y="124"/>
                          </a:lnTo>
                          <a:lnTo>
                            <a:pt x="389" y="122"/>
                          </a:lnTo>
                          <a:lnTo>
                            <a:pt x="389" y="122"/>
                          </a:lnTo>
                          <a:lnTo>
                            <a:pt x="388" y="116"/>
                          </a:lnTo>
                          <a:lnTo>
                            <a:pt x="386" y="111"/>
                          </a:lnTo>
                          <a:lnTo>
                            <a:pt x="382" y="106"/>
                          </a:lnTo>
                          <a:lnTo>
                            <a:pt x="377" y="103"/>
                          </a:lnTo>
                          <a:lnTo>
                            <a:pt x="377" y="103"/>
                          </a:lnTo>
                          <a:lnTo>
                            <a:pt x="371" y="42"/>
                          </a:lnTo>
                          <a:lnTo>
                            <a:pt x="366" y="0"/>
                          </a:lnTo>
                          <a:lnTo>
                            <a:pt x="366" y="0"/>
                          </a:lnTo>
                          <a:lnTo>
                            <a:pt x="362" y="42"/>
                          </a:lnTo>
                          <a:lnTo>
                            <a:pt x="357" y="103"/>
                          </a:lnTo>
                          <a:lnTo>
                            <a:pt x="357" y="103"/>
                          </a:lnTo>
                          <a:lnTo>
                            <a:pt x="352" y="106"/>
                          </a:lnTo>
                          <a:lnTo>
                            <a:pt x="348" y="111"/>
                          </a:lnTo>
                          <a:lnTo>
                            <a:pt x="346" y="116"/>
                          </a:lnTo>
                          <a:lnTo>
                            <a:pt x="345" y="122"/>
                          </a:lnTo>
                          <a:lnTo>
                            <a:pt x="345" y="122"/>
                          </a:lnTo>
                          <a:lnTo>
                            <a:pt x="345" y="124"/>
                          </a:lnTo>
                          <a:lnTo>
                            <a:pt x="345" y="124"/>
                          </a:lnTo>
                          <a:lnTo>
                            <a:pt x="335" y="126"/>
                          </a:lnTo>
                          <a:lnTo>
                            <a:pt x="325" y="129"/>
                          </a:lnTo>
                          <a:lnTo>
                            <a:pt x="315" y="133"/>
                          </a:lnTo>
                          <a:lnTo>
                            <a:pt x="306" y="137"/>
                          </a:lnTo>
                          <a:lnTo>
                            <a:pt x="297" y="142"/>
                          </a:lnTo>
                          <a:lnTo>
                            <a:pt x="289" y="147"/>
                          </a:lnTo>
                          <a:lnTo>
                            <a:pt x="281" y="154"/>
                          </a:lnTo>
                          <a:lnTo>
                            <a:pt x="274" y="161"/>
                          </a:lnTo>
                          <a:lnTo>
                            <a:pt x="267" y="168"/>
                          </a:lnTo>
                          <a:lnTo>
                            <a:pt x="260" y="176"/>
                          </a:lnTo>
                          <a:lnTo>
                            <a:pt x="254" y="184"/>
                          </a:lnTo>
                          <a:lnTo>
                            <a:pt x="249" y="193"/>
                          </a:lnTo>
                          <a:lnTo>
                            <a:pt x="245" y="202"/>
                          </a:lnTo>
                          <a:lnTo>
                            <a:pt x="241" y="213"/>
                          </a:lnTo>
                          <a:lnTo>
                            <a:pt x="238" y="222"/>
                          </a:lnTo>
                          <a:lnTo>
                            <a:pt x="236" y="233"/>
                          </a:lnTo>
                          <a:lnTo>
                            <a:pt x="325" y="233"/>
                          </a:lnTo>
                          <a:lnTo>
                            <a:pt x="325" y="233"/>
                          </a:lnTo>
                          <a:lnTo>
                            <a:pt x="327" y="233"/>
                          </a:lnTo>
                          <a:lnTo>
                            <a:pt x="329" y="234"/>
                          </a:lnTo>
                          <a:lnTo>
                            <a:pt x="331" y="236"/>
                          </a:lnTo>
                          <a:lnTo>
                            <a:pt x="331" y="239"/>
                          </a:lnTo>
                          <a:lnTo>
                            <a:pt x="331" y="239"/>
                          </a:lnTo>
                          <a:lnTo>
                            <a:pt x="331" y="241"/>
                          </a:lnTo>
                          <a:lnTo>
                            <a:pt x="330" y="243"/>
                          </a:lnTo>
                          <a:lnTo>
                            <a:pt x="328" y="245"/>
                          </a:lnTo>
                          <a:lnTo>
                            <a:pt x="325" y="245"/>
                          </a:lnTo>
                          <a:lnTo>
                            <a:pt x="219" y="245"/>
                          </a:lnTo>
                          <a:lnTo>
                            <a:pt x="219" y="275"/>
                          </a:lnTo>
                          <a:lnTo>
                            <a:pt x="229" y="275"/>
                          </a:lnTo>
                          <a:lnTo>
                            <a:pt x="229" y="342"/>
                          </a:lnTo>
                          <a:lnTo>
                            <a:pt x="43" y="377"/>
                          </a:lnTo>
                          <a:lnTo>
                            <a:pt x="33" y="377"/>
                          </a:lnTo>
                          <a:lnTo>
                            <a:pt x="33" y="406"/>
                          </a:lnTo>
                          <a:lnTo>
                            <a:pt x="42" y="406"/>
                          </a:lnTo>
                          <a:lnTo>
                            <a:pt x="42" y="557"/>
                          </a:lnTo>
                          <a:lnTo>
                            <a:pt x="20" y="557"/>
                          </a:lnTo>
                          <a:lnTo>
                            <a:pt x="20" y="592"/>
                          </a:lnTo>
                          <a:lnTo>
                            <a:pt x="0" y="592"/>
                          </a:lnTo>
                          <a:lnTo>
                            <a:pt x="0" y="632"/>
                          </a:lnTo>
                          <a:lnTo>
                            <a:pt x="733" y="632"/>
                          </a:lnTo>
                          <a:lnTo>
                            <a:pt x="733" y="592"/>
                          </a:lnTo>
                          <a:lnTo>
                            <a:pt x="714" y="592"/>
                          </a:lnTo>
                          <a:close/>
                          <a:moveTo>
                            <a:pt x="418" y="282"/>
                          </a:moveTo>
                          <a:lnTo>
                            <a:pt x="452" y="282"/>
                          </a:lnTo>
                          <a:lnTo>
                            <a:pt x="452" y="331"/>
                          </a:lnTo>
                          <a:lnTo>
                            <a:pt x="418" y="331"/>
                          </a:lnTo>
                          <a:lnTo>
                            <a:pt x="418" y="282"/>
                          </a:lnTo>
                          <a:close/>
                          <a:moveTo>
                            <a:pt x="352" y="282"/>
                          </a:moveTo>
                          <a:lnTo>
                            <a:pt x="386" y="282"/>
                          </a:lnTo>
                          <a:lnTo>
                            <a:pt x="386" y="331"/>
                          </a:lnTo>
                          <a:lnTo>
                            <a:pt x="352" y="331"/>
                          </a:lnTo>
                          <a:lnTo>
                            <a:pt x="352" y="282"/>
                          </a:lnTo>
                          <a:close/>
                          <a:moveTo>
                            <a:pt x="281" y="282"/>
                          </a:moveTo>
                          <a:lnTo>
                            <a:pt x="315" y="282"/>
                          </a:lnTo>
                          <a:lnTo>
                            <a:pt x="315" y="331"/>
                          </a:lnTo>
                          <a:lnTo>
                            <a:pt x="281" y="331"/>
                          </a:lnTo>
                          <a:lnTo>
                            <a:pt x="281" y="282"/>
                          </a:lnTo>
                          <a:close/>
                          <a:moveTo>
                            <a:pt x="125" y="568"/>
                          </a:moveTo>
                          <a:lnTo>
                            <a:pt x="91" y="568"/>
                          </a:lnTo>
                          <a:lnTo>
                            <a:pt x="91" y="519"/>
                          </a:lnTo>
                          <a:lnTo>
                            <a:pt x="125" y="519"/>
                          </a:lnTo>
                          <a:lnTo>
                            <a:pt x="125" y="568"/>
                          </a:lnTo>
                          <a:close/>
                          <a:moveTo>
                            <a:pt x="125" y="476"/>
                          </a:moveTo>
                          <a:lnTo>
                            <a:pt x="91" y="476"/>
                          </a:lnTo>
                          <a:lnTo>
                            <a:pt x="91" y="427"/>
                          </a:lnTo>
                          <a:lnTo>
                            <a:pt x="125" y="427"/>
                          </a:lnTo>
                          <a:lnTo>
                            <a:pt x="125" y="476"/>
                          </a:lnTo>
                          <a:close/>
                          <a:moveTo>
                            <a:pt x="193" y="568"/>
                          </a:moveTo>
                          <a:lnTo>
                            <a:pt x="160" y="568"/>
                          </a:lnTo>
                          <a:lnTo>
                            <a:pt x="160" y="519"/>
                          </a:lnTo>
                          <a:lnTo>
                            <a:pt x="193" y="519"/>
                          </a:lnTo>
                          <a:lnTo>
                            <a:pt x="193" y="568"/>
                          </a:lnTo>
                          <a:close/>
                          <a:moveTo>
                            <a:pt x="193" y="476"/>
                          </a:moveTo>
                          <a:lnTo>
                            <a:pt x="160" y="476"/>
                          </a:lnTo>
                          <a:lnTo>
                            <a:pt x="160" y="427"/>
                          </a:lnTo>
                          <a:lnTo>
                            <a:pt x="193" y="427"/>
                          </a:lnTo>
                          <a:lnTo>
                            <a:pt x="193" y="476"/>
                          </a:lnTo>
                          <a:close/>
                          <a:moveTo>
                            <a:pt x="505" y="447"/>
                          </a:moveTo>
                          <a:lnTo>
                            <a:pt x="482" y="447"/>
                          </a:lnTo>
                          <a:lnTo>
                            <a:pt x="482" y="592"/>
                          </a:lnTo>
                          <a:lnTo>
                            <a:pt x="449" y="592"/>
                          </a:lnTo>
                          <a:lnTo>
                            <a:pt x="449" y="447"/>
                          </a:lnTo>
                          <a:lnTo>
                            <a:pt x="415" y="447"/>
                          </a:lnTo>
                          <a:lnTo>
                            <a:pt x="415" y="592"/>
                          </a:lnTo>
                          <a:lnTo>
                            <a:pt x="384" y="592"/>
                          </a:lnTo>
                          <a:lnTo>
                            <a:pt x="384" y="447"/>
                          </a:lnTo>
                          <a:lnTo>
                            <a:pt x="350" y="447"/>
                          </a:lnTo>
                          <a:lnTo>
                            <a:pt x="350" y="592"/>
                          </a:lnTo>
                          <a:lnTo>
                            <a:pt x="319" y="592"/>
                          </a:lnTo>
                          <a:lnTo>
                            <a:pt x="319" y="447"/>
                          </a:lnTo>
                          <a:lnTo>
                            <a:pt x="285" y="447"/>
                          </a:lnTo>
                          <a:lnTo>
                            <a:pt x="285" y="592"/>
                          </a:lnTo>
                          <a:lnTo>
                            <a:pt x="252" y="592"/>
                          </a:lnTo>
                          <a:lnTo>
                            <a:pt x="252" y="447"/>
                          </a:lnTo>
                          <a:lnTo>
                            <a:pt x="229" y="447"/>
                          </a:lnTo>
                          <a:lnTo>
                            <a:pt x="229" y="420"/>
                          </a:lnTo>
                          <a:lnTo>
                            <a:pt x="366" y="373"/>
                          </a:lnTo>
                          <a:lnTo>
                            <a:pt x="505" y="420"/>
                          </a:lnTo>
                          <a:lnTo>
                            <a:pt x="505" y="447"/>
                          </a:lnTo>
                          <a:close/>
                          <a:moveTo>
                            <a:pt x="574" y="568"/>
                          </a:moveTo>
                          <a:lnTo>
                            <a:pt x="541" y="568"/>
                          </a:lnTo>
                          <a:lnTo>
                            <a:pt x="541" y="519"/>
                          </a:lnTo>
                          <a:lnTo>
                            <a:pt x="574" y="519"/>
                          </a:lnTo>
                          <a:lnTo>
                            <a:pt x="574" y="568"/>
                          </a:lnTo>
                          <a:close/>
                          <a:moveTo>
                            <a:pt x="574" y="476"/>
                          </a:moveTo>
                          <a:lnTo>
                            <a:pt x="541" y="476"/>
                          </a:lnTo>
                          <a:lnTo>
                            <a:pt x="541" y="427"/>
                          </a:lnTo>
                          <a:lnTo>
                            <a:pt x="574" y="427"/>
                          </a:lnTo>
                          <a:lnTo>
                            <a:pt x="574" y="476"/>
                          </a:lnTo>
                          <a:close/>
                          <a:moveTo>
                            <a:pt x="643" y="568"/>
                          </a:moveTo>
                          <a:lnTo>
                            <a:pt x="609" y="568"/>
                          </a:lnTo>
                          <a:lnTo>
                            <a:pt x="609" y="519"/>
                          </a:lnTo>
                          <a:lnTo>
                            <a:pt x="643" y="519"/>
                          </a:lnTo>
                          <a:lnTo>
                            <a:pt x="643" y="568"/>
                          </a:lnTo>
                          <a:close/>
                          <a:moveTo>
                            <a:pt x="643" y="476"/>
                          </a:moveTo>
                          <a:lnTo>
                            <a:pt x="609" y="476"/>
                          </a:lnTo>
                          <a:lnTo>
                            <a:pt x="609" y="427"/>
                          </a:lnTo>
                          <a:lnTo>
                            <a:pt x="643" y="427"/>
                          </a:lnTo>
                          <a:lnTo>
                            <a:pt x="643" y="47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2" name="TextBox 21">
                      <a:extLst>
                        <a:ext uri="{FF2B5EF4-FFF2-40B4-BE49-F238E27FC236}">
                          <a16:creationId xmlns:a16="http://schemas.microsoft.com/office/drawing/2014/main" id="{D7183715-C3F2-461B-8E74-8D1DEC529F24}"/>
                        </a:ext>
                      </a:extLst>
                    </p:cNvPr>
                    <p:cNvSpPr txBox="1"/>
                    <p:nvPr/>
                  </p:nvSpPr>
                  <p:spPr>
                    <a:xfrm>
                      <a:off x="11329399" y="8908498"/>
                      <a:ext cx="1551886" cy="64282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iê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ết</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giữa</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ư</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hâ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hà</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nước</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3" name="Freeform 29">
                      <a:extLst>
                        <a:ext uri="{FF2B5EF4-FFF2-40B4-BE49-F238E27FC236}">
                          <a16:creationId xmlns:a16="http://schemas.microsoft.com/office/drawing/2014/main" id="{26AD4DB0-D84A-4B59-8EBD-55FB69D2BE1C}"/>
                        </a:ext>
                      </a:extLst>
                    </p:cNvPr>
                    <p:cNvSpPr>
                      <a:spLocks noChangeAspect="1" noEditPoints="1"/>
                    </p:cNvSpPr>
                    <p:nvPr/>
                  </p:nvSpPr>
                  <p:spPr bwMode="auto">
                    <a:xfrm>
                      <a:off x="12898081" y="8546242"/>
                      <a:ext cx="166752" cy="291695"/>
                    </a:xfrm>
                    <a:custGeom>
                      <a:avLst/>
                      <a:gdLst>
                        <a:gd name="T0" fmla="*/ 154 w 678"/>
                        <a:gd name="T1" fmla="*/ 94 h 1186"/>
                        <a:gd name="T2" fmla="*/ 192 w 678"/>
                        <a:gd name="T3" fmla="*/ 36 h 1186"/>
                        <a:gd name="T4" fmla="*/ 242 w 678"/>
                        <a:gd name="T5" fmla="*/ 372 h 1186"/>
                        <a:gd name="T6" fmla="*/ 252 w 678"/>
                        <a:gd name="T7" fmla="*/ 394 h 1186"/>
                        <a:gd name="T8" fmla="*/ 272 w 678"/>
                        <a:gd name="T9" fmla="*/ 404 h 1186"/>
                        <a:gd name="T10" fmla="*/ 300 w 678"/>
                        <a:gd name="T11" fmla="*/ 384 h 1186"/>
                        <a:gd name="T12" fmla="*/ 362 w 678"/>
                        <a:gd name="T13" fmla="*/ 0 h 1186"/>
                        <a:gd name="T14" fmla="*/ 366 w 678"/>
                        <a:gd name="T15" fmla="*/ 380 h 1186"/>
                        <a:gd name="T16" fmla="*/ 392 w 678"/>
                        <a:gd name="T17" fmla="*/ 400 h 1186"/>
                        <a:gd name="T18" fmla="*/ 414 w 678"/>
                        <a:gd name="T19" fmla="*/ 390 h 1186"/>
                        <a:gd name="T20" fmla="*/ 422 w 678"/>
                        <a:gd name="T21" fmla="*/ 10 h 1186"/>
                        <a:gd name="T22" fmla="*/ 474 w 678"/>
                        <a:gd name="T23" fmla="*/ 38 h 1186"/>
                        <a:gd name="T24" fmla="*/ 516 w 678"/>
                        <a:gd name="T25" fmla="*/ 96 h 1186"/>
                        <a:gd name="T26" fmla="*/ 516 w 678"/>
                        <a:gd name="T27" fmla="*/ 604 h 1186"/>
                        <a:gd name="T28" fmla="*/ 500 w 678"/>
                        <a:gd name="T29" fmla="*/ 648 h 1186"/>
                        <a:gd name="T30" fmla="*/ 450 w 678"/>
                        <a:gd name="T31" fmla="*/ 692 h 1186"/>
                        <a:gd name="T32" fmla="*/ 360 w 678"/>
                        <a:gd name="T33" fmla="*/ 718 h 1186"/>
                        <a:gd name="T34" fmla="*/ 288 w 678"/>
                        <a:gd name="T35" fmla="*/ 718 h 1186"/>
                        <a:gd name="T36" fmla="*/ 208 w 678"/>
                        <a:gd name="T37" fmla="*/ 680 h 1186"/>
                        <a:gd name="T38" fmla="*/ 162 w 678"/>
                        <a:gd name="T39" fmla="*/ 628 h 1186"/>
                        <a:gd name="T40" fmla="*/ 152 w 678"/>
                        <a:gd name="T41" fmla="*/ 592 h 1186"/>
                        <a:gd name="T42" fmla="*/ 678 w 678"/>
                        <a:gd name="T43" fmla="*/ 580 h 1186"/>
                        <a:gd name="T44" fmla="*/ 664 w 678"/>
                        <a:gd name="T45" fmla="*/ 554 h 1186"/>
                        <a:gd name="T46" fmla="*/ 644 w 678"/>
                        <a:gd name="T47" fmla="*/ 546 h 1186"/>
                        <a:gd name="T48" fmla="*/ 616 w 678"/>
                        <a:gd name="T49" fmla="*/ 554 h 1186"/>
                        <a:gd name="T50" fmla="*/ 604 w 678"/>
                        <a:gd name="T51" fmla="*/ 572 h 1186"/>
                        <a:gd name="T52" fmla="*/ 566 w 678"/>
                        <a:gd name="T53" fmla="*/ 652 h 1186"/>
                        <a:gd name="T54" fmla="*/ 506 w 678"/>
                        <a:gd name="T55" fmla="*/ 714 h 1186"/>
                        <a:gd name="T56" fmla="*/ 428 w 678"/>
                        <a:gd name="T57" fmla="*/ 754 h 1186"/>
                        <a:gd name="T58" fmla="*/ 340 w 678"/>
                        <a:gd name="T59" fmla="*/ 768 h 1186"/>
                        <a:gd name="T60" fmla="*/ 294 w 678"/>
                        <a:gd name="T61" fmla="*/ 764 h 1186"/>
                        <a:gd name="T62" fmla="*/ 210 w 678"/>
                        <a:gd name="T63" fmla="*/ 736 h 1186"/>
                        <a:gd name="T64" fmla="*/ 142 w 678"/>
                        <a:gd name="T65" fmla="*/ 684 h 1186"/>
                        <a:gd name="T66" fmla="*/ 92 w 678"/>
                        <a:gd name="T67" fmla="*/ 614 h 1186"/>
                        <a:gd name="T68" fmla="*/ 72 w 678"/>
                        <a:gd name="T69" fmla="*/ 564 h 1186"/>
                        <a:gd name="T70" fmla="*/ 50 w 678"/>
                        <a:gd name="T71" fmla="*/ 546 h 1186"/>
                        <a:gd name="T72" fmla="*/ 28 w 678"/>
                        <a:gd name="T73" fmla="*/ 546 h 1186"/>
                        <a:gd name="T74" fmla="*/ 6 w 678"/>
                        <a:gd name="T75" fmla="*/ 564 h 1186"/>
                        <a:gd name="T76" fmla="*/ 2 w 678"/>
                        <a:gd name="T77" fmla="*/ 594 h 1186"/>
                        <a:gd name="T78" fmla="*/ 28 w 678"/>
                        <a:gd name="T79" fmla="*/ 656 h 1186"/>
                        <a:gd name="T80" fmla="*/ 78 w 678"/>
                        <a:gd name="T81" fmla="*/ 730 h 1186"/>
                        <a:gd name="T82" fmla="*/ 146 w 678"/>
                        <a:gd name="T83" fmla="*/ 786 h 1186"/>
                        <a:gd name="T84" fmla="*/ 226 w 678"/>
                        <a:gd name="T85" fmla="*/ 826 h 1186"/>
                        <a:gd name="T86" fmla="*/ 246 w 678"/>
                        <a:gd name="T87" fmla="*/ 1096 h 1186"/>
                        <a:gd name="T88" fmla="*/ 86 w 678"/>
                        <a:gd name="T89" fmla="*/ 1100 h 1186"/>
                        <a:gd name="T90" fmla="*/ 48 w 678"/>
                        <a:gd name="T91" fmla="*/ 1128 h 1186"/>
                        <a:gd name="T92" fmla="*/ 52 w 678"/>
                        <a:gd name="T93" fmla="*/ 1166 h 1186"/>
                        <a:gd name="T94" fmla="*/ 104 w 678"/>
                        <a:gd name="T95" fmla="*/ 1184 h 1186"/>
                        <a:gd name="T96" fmla="*/ 550 w 678"/>
                        <a:gd name="T97" fmla="*/ 1184 h 1186"/>
                        <a:gd name="T98" fmla="*/ 604 w 678"/>
                        <a:gd name="T99" fmla="*/ 1166 h 1186"/>
                        <a:gd name="T100" fmla="*/ 614 w 678"/>
                        <a:gd name="T101" fmla="*/ 1140 h 1186"/>
                        <a:gd name="T102" fmla="*/ 598 w 678"/>
                        <a:gd name="T103" fmla="*/ 1108 h 1186"/>
                        <a:gd name="T104" fmla="*/ 524 w 678"/>
                        <a:gd name="T105" fmla="*/ 1096 h 1186"/>
                        <a:gd name="T106" fmla="*/ 422 w 678"/>
                        <a:gd name="T107" fmla="*/ 836 h 1186"/>
                        <a:gd name="T108" fmla="*/ 486 w 678"/>
                        <a:gd name="T109" fmla="*/ 814 h 1186"/>
                        <a:gd name="T110" fmla="*/ 564 w 678"/>
                        <a:gd name="T111" fmla="*/ 764 h 1186"/>
                        <a:gd name="T112" fmla="*/ 626 w 678"/>
                        <a:gd name="T113" fmla="*/ 698 h 1186"/>
                        <a:gd name="T114" fmla="*/ 670 w 678"/>
                        <a:gd name="T115" fmla="*/ 618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8" h="1186">
                          <a:moveTo>
                            <a:pt x="152" y="592"/>
                          </a:moveTo>
                          <a:lnTo>
                            <a:pt x="152" y="112"/>
                          </a:lnTo>
                          <a:lnTo>
                            <a:pt x="152" y="112"/>
                          </a:lnTo>
                          <a:lnTo>
                            <a:pt x="154" y="94"/>
                          </a:lnTo>
                          <a:lnTo>
                            <a:pt x="160" y="78"/>
                          </a:lnTo>
                          <a:lnTo>
                            <a:pt x="168" y="64"/>
                          </a:lnTo>
                          <a:lnTo>
                            <a:pt x="180" y="48"/>
                          </a:lnTo>
                          <a:lnTo>
                            <a:pt x="192" y="36"/>
                          </a:lnTo>
                          <a:lnTo>
                            <a:pt x="208" y="24"/>
                          </a:lnTo>
                          <a:lnTo>
                            <a:pt x="224" y="16"/>
                          </a:lnTo>
                          <a:lnTo>
                            <a:pt x="242" y="8"/>
                          </a:lnTo>
                          <a:lnTo>
                            <a:pt x="242" y="372"/>
                          </a:lnTo>
                          <a:lnTo>
                            <a:pt x="242" y="372"/>
                          </a:lnTo>
                          <a:lnTo>
                            <a:pt x="244" y="378"/>
                          </a:lnTo>
                          <a:lnTo>
                            <a:pt x="246" y="384"/>
                          </a:lnTo>
                          <a:lnTo>
                            <a:pt x="252" y="394"/>
                          </a:lnTo>
                          <a:lnTo>
                            <a:pt x="262" y="400"/>
                          </a:lnTo>
                          <a:lnTo>
                            <a:pt x="266" y="402"/>
                          </a:lnTo>
                          <a:lnTo>
                            <a:pt x="272" y="404"/>
                          </a:lnTo>
                          <a:lnTo>
                            <a:pt x="272" y="404"/>
                          </a:lnTo>
                          <a:lnTo>
                            <a:pt x="278" y="402"/>
                          </a:lnTo>
                          <a:lnTo>
                            <a:pt x="284" y="400"/>
                          </a:lnTo>
                          <a:lnTo>
                            <a:pt x="294" y="394"/>
                          </a:lnTo>
                          <a:lnTo>
                            <a:pt x="300" y="384"/>
                          </a:lnTo>
                          <a:lnTo>
                            <a:pt x="302" y="378"/>
                          </a:lnTo>
                          <a:lnTo>
                            <a:pt x="302" y="372"/>
                          </a:lnTo>
                          <a:lnTo>
                            <a:pt x="302" y="0"/>
                          </a:lnTo>
                          <a:lnTo>
                            <a:pt x="362" y="0"/>
                          </a:lnTo>
                          <a:lnTo>
                            <a:pt x="362" y="368"/>
                          </a:lnTo>
                          <a:lnTo>
                            <a:pt x="362" y="368"/>
                          </a:lnTo>
                          <a:lnTo>
                            <a:pt x="364" y="374"/>
                          </a:lnTo>
                          <a:lnTo>
                            <a:pt x="366" y="380"/>
                          </a:lnTo>
                          <a:lnTo>
                            <a:pt x="372" y="390"/>
                          </a:lnTo>
                          <a:lnTo>
                            <a:pt x="380" y="398"/>
                          </a:lnTo>
                          <a:lnTo>
                            <a:pt x="386" y="400"/>
                          </a:lnTo>
                          <a:lnTo>
                            <a:pt x="392" y="400"/>
                          </a:lnTo>
                          <a:lnTo>
                            <a:pt x="392" y="400"/>
                          </a:lnTo>
                          <a:lnTo>
                            <a:pt x="398" y="400"/>
                          </a:lnTo>
                          <a:lnTo>
                            <a:pt x="404" y="398"/>
                          </a:lnTo>
                          <a:lnTo>
                            <a:pt x="414" y="390"/>
                          </a:lnTo>
                          <a:lnTo>
                            <a:pt x="420" y="380"/>
                          </a:lnTo>
                          <a:lnTo>
                            <a:pt x="422" y="374"/>
                          </a:lnTo>
                          <a:lnTo>
                            <a:pt x="422" y="368"/>
                          </a:lnTo>
                          <a:lnTo>
                            <a:pt x="422" y="10"/>
                          </a:lnTo>
                          <a:lnTo>
                            <a:pt x="422" y="10"/>
                          </a:lnTo>
                          <a:lnTo>
                            <a:pt x="440" y="16"/>
                          </a:lnTo>
                          <a:lnTo>
                            <a:pt x="458" y="26"/>
                          </a:lnTo>
                          <a:lnTo>
                            <a:pt x="474" y="38"/>
                          </a:lnTo>
                          <a:lnTo>
                            <a:pt x="488" y="50"/>
                          </a:lnTo>
                          <a:lnTo>
                            <a:pt x="500" y="64"/>
                          </a:lnTo>
                          <a:lnTo>
                            <a:pt x="510" y="78"/>
                          </a:lnTo>
                          <a:lnTo>
                            <a:pt x="516" y="96"/>
                          </a:lnTo>
                          <a:lnTo>
                            <a:pt x="518" y="112"/>
                          </a:lnTo>
                          <a:lnTo>
                            <a:pt x="518" y="592"/>
                          </a:lnTo>
                          <a:lnTo>
                            <a:pt x="518" y="592"/>
                          </a:lnTo>
                          <a:lnTo>
                            <a:pt x="516" y="604"/>
                          </a:lnTo>
                          <a:lnTo>
                            <a:pt x="514" y="616"/>
                          </a:lnTo>
                          <a:lnTo>
                            <a:pt x="510" y="626"/>
                          </a:lnTo>
                          <a:lnTo>
                            <a:pt x="506" y="638"/>
                          </a:lnTo>
                          <a:lnTo>
                            <a:pt x="500" y="648"/>
                          </a:lnTo>
                          <a:lnTo>
                            <a:pt x="492" y="658"/>
                          </a:lnTo>
                          <a:lnTo>
                            <a:pt x="482" y="668"/>
                          </a:lnTo>
                          <a:lnTo>
                            <a:pt x="474" y="676"/>
                          </a:lnTo>
                          <a:lnTo>
                            <a:pt x="450" y="692"/>
                          </a:lnTo>
                          <a:lnTo>
                            <a:pt x="424" y="706"/>
                          </a:lnTo>
                          <a:lnTo>
                            <a:pt x="394" y="714"/>
                          </a:lnTo>
                          <a:lnTo>
                            <a:pt x="378" y="718"/>
                          </a:lnTo>
                          <a:lnTo>
                            <a:pt x="360" y="718"/>
                          </a:lnTo>
                          <a:lnTo>
                            <a:pt x="316" y="720"/>
                          </a:lnTo>
                          <a:lnTo>
                            <a:pt x="316" y="720"/>
                          </a:lnTo>
                          <a:lnTo>
                            <a:pt x="302" y="720"/>
                          </a:lnTo>
                          <a:lnTo>
                            <a:pt x="288" y="718"/>
                          </a:lnTo>
                          <a:lnTo>
                            <a:pt x="274" y="714"/>
                          </a:lnTo>
                          <a:lnTo>
                            <a:pt x="260" y="708"/>
                          </a:lnTo>
                          <a:lnTo>
                            <a:pt x="232" y="696"/>
                          </a:lnTo>
                          <a:lnTo>
                            <a:pt x="208" y="680"/>
                          </a:lnTo>
                          <a:lnTo>
                            <a:pt x="186" y="660"/>
                          </a:lnTo>
                          <a:lnTo>
                            <a:pt x="176" y="650"/>
                          </a:lnTo>
                          <a:lnTo>
                            <a:pt x="168" y="638"/>
                          </a:lnTo>
                          <a:lnTo>
                            <a:pt x="162" y="628"/>
                          </a:lnTo>
                          <a:lnTo>
                            <a:pt x="156" y="616"/>
                          </a:lnTo>
                          <a:lnTo>
                            <a:pt x="154" y="604"/>
                          </a:lnTo>
                          <a:lnTo>
                            <a:pt x="152" y="592"/>
                          </a:lnTo>
                          <a:lnTo>
                            <a:pt x="152" y="592"/>
                          </a:lnTo>
                          <a:close/>
                          <a:moveTo>
                            <a:pt x="676" y="596"/>
                          </a:moveTo>
                          <a:lnTo>
                            <a:pt x="676" y="596"/>
                          </a:lnTo>
                          <a:lnTo>
                            <a:pt x="678" y="588"/>
                          </a:lnTo>
                          <a:lnTo>
                            <a:pt x="678" y="580"/>
                          </a:lnTo>
                          <a:lnTo>
                            <a:pt x="676" y="572"/>
                          </a:lnTo>
                          <a:lnTo>
                            <a:pt x="674" y="566"/>
                          </a:lnTo>
                          <a:lnTo>
                            <a:pt x="670" y="560"/>
                          </a:lnTo>
                          <a:lnTo>
                            <a:pt x="664" y="554"/>
                          </a:lnTo>
                          <a:lnTo>
                            <a:pt x="658" y="550"/>
                          </a:lnTo>
                          <a:lnTo>
                            <a:pt x="652" y="548"/>
                          </a:lnTo>
                          <a:lnTo>
                            <a:pt x="652" y="548"/>
                          </a:lnTo>
                          <a:lnTo>
                            <a:pt x="644" y="546"/>
                          </a:lnTo>
                          <a:lnTo>
                            <a:pt x="636" y="546"/>
                          </a:lnTo>
                          <a:lnTo>
                            <a:pt x="628" y="548"/>
                          </a:lnTo>
                          <a:lnTo>
                            <a:pt x="622" y="550"/>
                          </a:lnTo>
                          <a:lnTo>
                            <a:pt x="616" y="554"/>
                          </a:lnTo>
                          <a:lnTo>
                            <a:pt x="610" y="560"/>
                          </a:lnTo>
                          <a:lnTo>
                            <a:pt x="606" y="566"/>
                          </a:lnTo>
                          <a:lnTo>
                            <a:pt x="604" y="572"/>
                          </a:lnTo>
                          <a:lnTo>
                            <a:pt x="604" y="572"/>
                          </a:lnTo>
                          <a:lnTo>
                            <a:pt x="596" y="594"/>
                          </a:lnTo>
                          <a:lnTo>
                            <a:pt x="588" y="614"/>
                          </a:lnTo>
                          <a:lnTo>
                            <a:pt x="576" y="632"/>
                          </a:lnTo>
                          <a:lnTo>
                            <a:pt x="566" y="652"/>
                          </a:lnTo>
                          <a:lnTo>
                            <a:pt x="552" y="668"/>
                          </a:lnTo>
                          <a:lnTo>
                            <a:pt x="538" y="684"/>
                          </a:lnTo>
                          <a:lnTo>
                            <a:pt x="522" y="700"/>
                          </a:lnTo>
                          <a:lnTo>
                            <a:pt x="506" y="714"/>
                          </a:lnTo>
                          <a:lnTo>
                            <a:pt x="488" y="726"/>
                          </a:lnTo>
                          <a:lnTo>
                            <a:pt x="468" y="736"/>
                          </a:lnTo>
                          <a:lnTo>
                            <a:pt x="448" y="746"/>
                          </a:lnTo>
                          <a:lnTo>
                            <a:pt x="428" y="754"/>
                          </a:lnTo>
                          <a:lnTo>
                            <a:pt x="408" y="760"/>
                          </a:lnTo>
                          <a:lnTo>
                            <a:pt x="386" y="764"/>
                          </a:lnTo>
                          <a:lnTo>
                            <a:pt x="362" y="768"/>
                          </a:lnTo>
                          <a:lnTo>
                            <a:pt x="340" y="768"/>
                          </a:lnTo>
                          <a:lnTo>
                            <a:pt x="340" y="768"/>
                          </a:lnTo>
                          <a:lnTo>
                            <a:pt x="340" y="768"/>
                          </a:lnTo>
                          <a:lnTo>
                            <a:pt x="316" y="768"/>
                          </a:lnTo>
                          <a:lnTo>
                            <a:pt x="294" y="764"/>
                          </a:lnTo>
                          <a:lnTo>
                            <a:pt x="272" y="760"/>
                          </a:lnTo>
                          <a:lnTo>
                            <a:pt x="250" y="754"/>
                          </a:lnTo>
                          <a:lnTo>
                            <a:pt x="230" y="746"/>
                          </a:lnTo>
                          <a:lnTo>
                            <a:pt x="210" y="736"/>
                          </a:lnTo>
                          <a:lnTo>
                            <a:pt x="192" y="726"/>
                          </a:lnTo>
                          <a:lnTo>
                            <a:pt x="174" y="712"/>
                          </a:lnTo>
                          <a:lnTo>
                            <a:pt x="158" y="700"/>
                          </a:lnTo>
                          <a:lnTo>
                            <a:pt x="142" y="684"/>
                          </a:lnTo>
                          <a:lnTo>
                            <a:pt x="128" y="668"/>
                          </a:lnTo>
                          <a:lnTo>
                            <a:pt x="114" y="650"/>
                          </a:lnTo>
                          <a:lnTo>
                            <a:pt x="102" y="632"/>
                          </a:lnTo>
                          <a:lnTo>
                            <a:pt x="92" y="614"/>
                          </a:lnTo>
                          <a:lnTo>
                            <a:pt x="84" y="592"/>
                          </a:lnTo>
                          <a:lnTo>
                            <a:pt x="76" y="572"/>
                          </a:lnTo>
                          <a:lnTo>
                            <a:pt x="76" y="572"/>
                          </a:lnTo>
                          <a:lnTo>
                            <a:pt x="72" y="564"/>
                          </a:lnTo>
                          <a:lnTo>
                            <a:pt x="68" y="558"/>
                          </a:lnTo>
                          <a:lnTo>
                            <a:pt x="64" y="554"/>
                          </a:lnTo>
                          <a:lnTo>
                            <a:pt x="58" y="550"/>
                          </a:lnTo>
                          <a:lnTo>
                            <a:pt x="50" y="546"/>
                          </a:lnTo>
                          <a:lnTo>
                            <a:pt x="44" y="544"/>
                          </a:lnTo>
                          <a:lnTo>
                            <a:pt x="36" y="544"/>
                          </a:lnTo>
                          <a:lnTo>
                            <a:pt x="28" y="546"/>
                          </a:lnTo>
                          <a:lnTo>
                            <a:pt x="28" y="546"/>
                          </a:lnTo>
                          <a:lnTo>
                            <a:pt x="20" y="550"/>
                          </a:lnTo>
                          <a:lnTo>
                            <a:pt x="14" y="554"/>
                          </a:lnTo>
                          <a:lnTo>
                            <a:pt x="10" y="558"/>
                          </a:lnTo>
                          <a:lnTo>
                            <a:pt x="6" y="564"/>
                          </a:lnTo>
                          <a:lnTo>
                            <a:pt x="2" y="572"/>
                          </a:lnTo>
                          <a:lnTo>
                            <a:pt x="0" y="578"/>
                          </a:lnTo>
                          <a:lnTo>
                            <a:pt x="0" y="586"/>
                          </a:lnTo>
                          <a:lnTo>
                            <a:pt x="2" y="594"/>
                          </a:lnTo>
                          <a:lnTo>
                            <a:pt x="2" y="594"/>
                          </a:lnTo>
                          <a:lnTo>
                            <a:pt x="10" y="616"/>
                          </a:lnTo>
                          <a:lnTo>
                            <a:pt x="18" y="636"/>
                          </a:lnTo>
                          <a:lnTo>
                            <a:pt x="28" y="656"/>
                          </a:lnTo>
                          <a:lnTo>
                            <a:pt x="38" y="676"/>
                          </a:lnTo>
                          <a:lnTo>
                            <a:pt x="50" y="694"/>
                          </a:lnTo>
                          <a:lnTo>
                            <a:pt x="64" y="712"/>
                          </a:lnTo>
                          <a:lnTo>
                            <a:pt x="78" y="730"/>
                          </a:lnTo>
                          <a:lnTo>
                            <a:pt x="94" y="746"/>
                          </a:lnTo>
                          <a:lnTo>
                            <a:pt x="110" y="760"/>
                          </a:lnTo>
                          <a:lnTo>
                            <a:pt x="128" y="774"/>
                          </a:lnTo>
                          <a:lnTo>
                            <a:pt x="146" y="786"/>
                          </a:lnTo>
                          <a:lnTo>
                            <a:pt x="164" y="798"/>
                          </a:lnTo>
                          <a:lnTo>
                            <a:pt x="184" y="810"/>
                          </a:lnTo>
                          <a:lnTo>
                            <a:pt x="204" y="818"/>
                          </a:lnTo>
                          <a:lnTo>
                            <a:pt x="226" y="826"/>
                          </a:lnTo>
                          <a:lnTo>
                            <a:pt x="248" y="834"/>
                          </a:lnTo>
                          <a:lnTo>
                            <a:pt x="248" y="834"/>
                          </a:lnTo>
                          <a:lnTo>
                            <a:pt x="246" y="838"/>
                          </a:lnTo>
                          <a:lnTo>
                            <a:pt x="246" y="1096"/>
                          </a:lnTo>
                          <a:lnTo>
                            <a:pt x="146" y="1096"/>
                          </a:lnTo>
                          <a:lnTo>
                            <a:pt x="146" y="1096"/>
                          </a:lnTo>
                          <a:lnTo>
                            <a:pt x="104" y="1098"/>
                          </a:lnTo>
                          <a:lnTo>
                            <a:pt x="86" y="1100"/>
                          </a:lnTo>
                          <a:lnTo>
                            <a:pt x="72" y="1104"/>
                          </a:lnTo>
                          <a:lnTo>
                            <a:pt x="60" y="1110"/>
                          </a:lnTo>
                          <a:lnTo>
                            <a:pt x="52" y="1118"/>
                          </a:lnTo>
                          <a:lnTo>
                            <a:pt x="48" y="1128"/>
                          </a:lnTo>
                          <a:lnTo>
                            <a:pt x="46" y="1142"/>
                          </a:lnTo>
                          <a:lnTo>
                            <a:pt x="46" y="1142"/>
                          </a:lnTo>
                          <a:lnTo>
                            <a:pt x="48" y="1156"/>
                          </a:lnTo>
                          <a:lnTo>
                            <a:pt x="52" y="1166"/>
                          </a:lnTo>
                          <a:lnTo>
                            <a:pt x="62" y="1174"/>
                          </a:lnTo>
                          <a:lnTo>
                            <a:pt x="72" y="1180"/>
                          </a:lnTo>
                          <a:lnTo>
                            <a:pt x="88" y="1182"/>
                          </a:lnTo>
                          <a:lnTo>
                            <a:pt x="104" y="1184"/>
                          </a:lnTo>
                          <a:lnTo>
                            <a:pt x="146" y="1186"/>
                          </a:lnTo>
                          <a:lnTo>
                            <a:pt x="524" y="1186"/>
                          </a:lnTo>
                          <a:lnTo>
                            <a:pt x="524" y="1186"/>
                          </a:lnTo>
                          <a:lnTo>
                            <a:pt x="550" y="1184"/>
                          </a:lnTo>
                          <a:lnTo>
                            <a:pt x="570" y="1182"/>
                          </a:lnTo>
                          <a:lnTo>
                            <a:pt x="584" y="1178"/>
                          </a:lnTo>
                          <a:lnTo>
                            <a:pt x="596" y="1172"/>
                          </a:lnTo>
                          <a:lnTo>
                            <a:pt x="604" y="1166"/>
                          </a:lnTo>
                          <a:lnTo>
                            <a:pt x="610" y="1158"/>
                          </a:lnTo>
                          <a:lnTo>
                            <a:pt x="612" y="1150"/>
                          </a:lnTo>
                          <a:lnTo>
                            <a:pt x="614" y="1140"/>
                          </a:lnTo>
                          <a:lnTo>
                            <a:pt x="614" y="1140"/>
                          </a:lnTo>
                          <a:lnTo>
                            <a:pt x="614" y="1130"/>
                          </a:lnTo>
                          <a:lnTo>
                            <a:pt x="610" y="1122"/>
                          </a:lnTo>
                          <a:lnTo>
                            <a:pt x="606" y="1114"/>
                          </a:lnTo>
                          <a:lnTo>
                            <a:pt x="598" y="1108"/>
                          </a:lnTo>
                          <a:lnTo>
                            <a:pt x="588" y="1102"/>
                          </a:lnTo>
                          <a:lnTo>
                            <a:pt x="572" y="1098"/>
                          </a:lnTo>
                          <a:lnTo>
                            <a:pt x="552" y="1096"/>
                          </a:lnTo>
                          <a:lnTo>
                            <a:pt x="524" y="1096"/>
                          </a:lnTo>
                          <a:lnTo>
                            <a:pt x="422" y="1096"/>
                          </a:lnTo>
                          <a:lnTo>
                            <a:pt x="422" y="838"/>
                          </a:lnTo>
                          <a:lnTo>
                            <a:pt x="422" y="838"/>
                          </a:lnTo>
                          <a:lnTo>
                            <a:pt x="422" y="836"/>
                          </a:lnTo>
                          <a:lnTo>
                            <a:pt x="422" y="836"/>
                          </a:lnTo>
                          <a:lnTo>
                            <a:pt x="444" y="830"/>
                          </a:lnTo>
                          <a:lnTo>
                            <a:pt x="466" y="822"/>
                          </a:lnTo>
                          <a:lnTo>
                            <a:pt x="486" y="814"/>
                          </a:lnTo>
                          <a:lnTo>
                            <a:pt x="508" y="802"/>
                          </a:lnTo>
                          <a:lnTo>
                            <a:pt x="528" y="792"/>
                          </a:lnTo>
                          <a:lnTo>
                            <a:pt x="546" y="778"/>
                          </a:lnTo>
                          <a:lnTo>
                            <a:pt x="564" y="764"/>
                          </a:lnTo>
                          <a:lnTo>
                            <a:pt x="582" y="750"/>
                          </a:lnTo>
                          <a:lnTo>
                            <a:pt x="598" y="734"/>
                          </a:lnTo>
                          <a:lnTo>
                            <a:pt x="612" y="716"/>
                          </a:lnTo>
                          <a:lnTo>
                            <a:pt x="626" y="698"/>
                          </a:lnTo>
                          <a:lnTo>
                            <a:pt x="638" y="678"/>
                          </a:lnTo>
                          <a:lnTo>
                            <a:pt x="650" y="660"/>
                          </a:lnTo>
                          <a:lnTo>
                            <a:pt x="660" y="638"/>
                          </a:lnTo>
                          <a:lnTo>
                            <a:pt x="670" y="618"/>
                          </a:lnTo>
                          <a:lnTo>
                            <a:pt x="676" y="596"/>
                          </a:lnTo>
                          <a:lnTo>
                            <a:pt x="676" y="59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2776"/>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74" name="TextBox 22">
                      <a:extLst>
                        <a:ext uri="{FF2B5EF4-FFF2-40B4-BE49-F238E27FC236}">
                          <a16:creationId xmlns:a16="http://schemas.microsoft.com/office/drawing/2014/main" id="{44015C5C-7388-4FB5-8163-76CBA090882B}"/>
                        </a:ext>
                      </a:extLst>
                    </p:cNvPr>
                    <p:cNvSpPr txBox="1"/>
                    <p:nvPr/>
                  </p:nvSpPr>
                  <p:spPr>
                    <a:xfrm>
                      <a:off x="11037445" y="6193932"/>
                      <a:ext cx="983836" cy="82413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Giám</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Sát</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Khủ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Hoảng</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liên</a:t>
                      </a:r>
                      <a:r>
                        <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 </a:t>
                      </a:r>
                      <a:r>
                        <a:rPr kumimoji="0" lang="en-US" sz="1100" b="0" i="0" u="none" strike="noStrike" kern="1200" cap="none" spc="0" normalizeH="0" baseline="0" noProof="0" dirty="0" err="1">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rPr>
                        <a:t>tục</a:t>
                      </a:r>
                      <a:endParaRPr kumimoji="0" lang="en-US" sz="1100" b="0" i="0" u="none" strike="noStrike" kern="1200" cap="none" spc="0" normalizeH="0" baseline="0" noProof="0" dirty="0">
                        <a:ln>
                          <a:noFill/>
                        </a:ln>
                        <a:solidFill>
                          <a:prstClr val="white"/>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grpSp>
              <p:sp>
                <p:nvSpPr>
                  <p:cNvPr id="38" name="Arc 37">
                    <a:extLst>
                      <a:ext uri="{FF2B5EF4-FFF2-40B4-BE49-F238E27FC236}">
                        <a16:creationId xmlns:a16="http://schemas.microsoft.com/office/drawing/2014/main" id="{55BD5F8D-4076-405D-BC7D-CD9C84629BBD}"/>
                      </a:ext>
                    </a:extLst>
                  </p:cNvPr>
                  <p:cNvSpPr/>
                  <p:nvPr/>
                </p:nvSpPr>
                <p:spPr>
                  <a:xfrm>
                    <a:off x="-9094596" y="-3083364"/>
                    <a:ext cx="4359058" cy="4358746"/>
                  </a:xfrm>
                  <a:prstGeom prst="arc">
                    <a:avLst>
                      <a:gd name="adj1" fmla="val 13003315"/>
                      <a:gd name="adj2" fmla="val 14832082"/>
                    </a:avLst>
                  </a:prstGeom>
                  <a:noFill/>
                  <a:ln w="9525" cap="flat" cmpd="sng" algn="ctr">
                    <a:solidFill>
                      <a:srgbClr val="62B5E5"/>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39" name="Arc 38">
                    <a:extLst>
                      <a:ext uri="{FF2B5EF4-FFF2-40B4-BE49-F238E27FC236}">
                        <a16:creationId xmlns:a16="http://schemas.microsoft.com/office/drawing/2014/main" id="{C3F4A3BB-07EC-4AD8-9C37-9D465A70B229}"/>
                      </a:ext>
                    </a:extLst>
                  </p:cNvPr>
                  <p:cNvSpPr/>
                  <p:nvPr/>
                </p:nvSpPr>
                <p:spPr>
                  <a:xfrm>
                    <a:off x="-9097301" y="-3214505"/>
                    <a:ext cx="4289438" cy="4263735"/>
                  </a:xfrm>
                  <a:prstGeom prst="arc">
                    <a:avLst>
                      <a:gd name="adj1" fmla="val 7797394"/>
                      <a:gd name="adj2" fmla="val 9312570"/>
                    </a:avLst>
                  </a:prstGeom>
                  <a:noFill/>
                  <a:ln w="9525" cap="flat" cmpd="sng" algn="ctr">
                    <a:solidFill>
                      <a:srgbClr val="62B5E5"/>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40" name="Arc 39">
                    <a:extLst>
                      <a:ext uri="{FF2B5EF4-FFF2-40B4-BE49-F238E27FC236}">
                        <a16:creationId xmlns:a16="http://schemas.microsoft.com/office/drawing/2014/main" id="{DD73EBB8-55C3-45D2-93D2-B4459306B4E5}"/>
                      </a:ext>
                    </a:extLst>
                  </p:cNvPr>
                  <p:cNvSpPr/>
                  <p:nvPr/>
                </p:nvSpPr>
                <p:spPr>
                  <a:xfrm>
                    <a:off x="-9088635" y="-3286355"/>
                    <a:ext cx="4359058" cy="4358746"/>
                  </a:xfrm>
                  <a:prstGeom prst="arc">
                    <a:avLst>
                      <a:gd name="adj1" fmla="val 4644863"/>
                      <a:gd name="adj2" fmla="val 7623244"/>
                    </a:avLst>
                  </a:prstGeom>
                  <a:noFill/>
                  <a:ln w="9525" cap="flat" cmpd="sng" algn="ctr">
                    <a:solidFill>
                      <a:srgbClr val="012169"/>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41" name="Arc 40">
                    <a:extLst>
                      <a:ext uri="{FF2B5EF4-FFF2-40B4-BE49-F238E27FC236}">
                        <a16:creationId xmlns:a16="http://schemas.microsoft.com/office/drawing/2014/main" id="{8BF286F9-22A1-499E-9F6D-BBCEFEF3D813}"/>
                      </a:ext>
                    </a:extLst>
                  </p:cNvPr>
                  <p:cNvSpPr/>
                  <p:nvPr/>
                </p:nvSpPr>
                <p:spPr>
                  <a:xfrm>
                    <a:off x="-9220558" y="-3212019"/>
                    <a:ext cx="4359058" cy="4358746"/>
                  </a:xfrm>
                  <a:prstGeom prst="arc">
                    <a:avLst>
                      <a:gd name="adj1" fmla="val 616614"/>
                      <a:gd name="adj2" fmla="val 2708494"/>
                    </a:avLst>
                  </a:prstGeom>
                  <a:noFill/>
                  <a:ln w="9525" cap="flat" cmpd="sng" algn="ctr">
                    <a:solidFill>
                      <a:srgbClr val="012169"/>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42" name="Arc 41">
                    <a:extLst>
                      <a:ext uri="{FF2B5EF4-FFF2-40B4-BE49-F238E27FC236}">
                        <a16:creationId xmlns:a16="http://schemas.microsoft.com/office/drawing/2014/main" id="{BA200B4C-FCA2-4FAE-97DD-437AE28941F0}"/>
                      </a:ext>
                    </a:extLst>
                  </p:cNvPr>
                  <p:cNvSpPr/>
                  <p:nvPr/>
                </p:nvSpPr>
                <p:spPr>
                  <a:xfrm>
                    <a:off x="-8855611" y="-3035406"/>
                    <a:ext cx="4005806" cy="4005519"/>
                  </a:xfrm>
                  <a:prstGeom prst="arc">
                    <a:avLst>
                      <a:gd name="adj1" fmla="val 20899549"/>
                      <a:gd name="adj2" fmla="val 461527"/>
                    </a:avLst>
                  </a:prstGeom>
                  <a:noFill/>
                  <a:ln w="9525" cap="flat" cmpd="sng" algn="ctr">
                    <a:solidFill>
                      <a:srgbClr val="86BC25">
                        <a:shade val="95000"/>
                        <a:satMod val="105000"/>
                      </a:srgb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sp>
                <p:nvSpPr>
                  <p:cNvPr id="43" name="Arc 42">
                    <a:extLst>
                      <a:ext uri="{FF2B5EF4-FFF2-40B4-BE49-F238E27FC236}">
                        <a16:creationId xmlns:a16="http://schemas.microsoft.com/office/drawing/2014/main" id="{27CAEF58-E075-4D7E-914B-95D53693359F}"/>
                      </a:ext>
                    </a:extLst>
                  </p:cNvPr>
                  <p:cNvSpPr/>
                  <p:nvPr/>
                </p:nvSpPr>
                <p:spPr>
                  <a:xfrm>
                    <a:off x="-9058965" y="-3114829"/>
                    <a:ext cx="4359058" cy="4358746"/>
                  </a:xfrm>
                  <a:prstGeom prst="arc">
                    <a:avLst>
                      <a:gd name="adj1" fmla="val 15062181"/>
                      <a:gd name="adj2" fmla="val 15887399"/>
                    </a:avLst>
                  </a:prstGeom>
                  <a:noFill/>
                  <a:ln w="9525" cap="flat" cmpd="sng" algn="ctr">
                    <a:solidFill>
                      <a:srgbClr val="86BC25">
                        <a:shade val="95000"/>
                        <a:satMod val="105000"/>
                      </a:srgbClr>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Light" panose="020F0302020204030204" pitchFamily="34" charset="0"/>
                      <a:ea typeface="Verdana" panose="020B0604030504040204" pitchFamily="34" charset="0"/>
                      <a:cs typeface="Calibri Light" panose="020F0302020204030204" pitchFamily="34" charset="0"/>
                    </a:endParaRPr>
                  </a:p>
                </p:txBody>
              </p:sp>
            </p:grpSp>
          </p:grpSp>
          <p:sp>
            <p:nvSpPr>
              <p:cNvPr id="34" name="TextBox 33">
                <a:extLst>
                  <a:ext uri="{FF2B5EF4-FFF2-40B4-BE49-F238E27FC236}">
                    <a16:creationId xmlns:a16="http://schemas.microsoft.com/office/drawing/2014/main" id="{D7128B50-53C7-4CD5-9801-15E1DC8F7EF1}"/>
                  </a:ext>
                </a:extLst>
              </p:cNvPr>
              <p:cNvSpPr txBox="1">
                <a:spLocks noChangeAspect="1"/>
              </p:cNvSpPr>
              <p:nvPr/>
            </p:nvSpPr>
            <p:spPr>
              <a:xfrm rot="17083072">
                <a:off x="-5295559" y="-1065980"/>
                <a:ext cx="4338240" cy="4244777"/>
              </a:xfrm>
              <a:prstGeom prst="rect">
                <a:avLst/>
              </a:prstGeom>
              <a:noFill/>
            </p:spPr>
            <p:txBody>
              <a:bodyPr wrap="square" lIns="0" tIns="0" rIns="0" bIns="0" rtlCol="0">
                <a:prstTxWarp prst="textArchUp">
                  <a:avLst>
                    <a:gd name="adj" fmla="val 13280408"/>
                  </a:avLst>
                </a:prstTxWarp>
                <a:spAutoFit/>
              </a:bodyPr>
              <a:lstStyle/>
              <a:p>
                <a:pPr marL="0" marR="0" lvl="0" indent="0" algn="l" defTabSz="1219170" rtl="0" eaLnBrk="1" fontAlgn="auto" latinLnBrk="0" hangingPunct="1">
                  <a:lnSpc>
                    <a:spcPct val="100000"/>
                  </a:lnSpc>
                  <a:spcBef>
                    <a:spcPts val="0"/>
                  </a:spcBef>
                  <a:spcAft>
                    <a:spcPts val="0"/>
                  </a:spcAft>
                  <a:buClrTx/>
                  <a:buSzPct val="25000"/>
                  <a:buFontTx/>
                  <a:buNone/>
                  <a:tabLst/>
                  <a:defRPr/>
                </a:pPr>
                <a:r>
                  <a:rPr kumimoji="0" lang="en-US" sz="1300" b="1" i="0" u="none" strike="noStrike" kern="0" cap="none" spc="0" normalizeH="0" baseline="0" noProof="0" dirty="0">
                    <a:ln>
                      <a:noFill/>
                    </a:ln>
                    <a:solidFill>
                      <a:srgbClr val="86BC25"/>
                    </a:solidFill>
                    <a:effectLst/>
                    <a:uLnTx/>
                    <a:uFillTx/>
                    <a:latin typeface="Calibri Light" panose="020F0302020204030204" pitchFamily="34" charset="0"/>
                    <a:ea typeface="+mn-ea"/>
                    <a:cs typeface="Calibri Light" panose="020F0302020204030204" pitchFamily="34" charset="0"/>
                  </a:rPr>
                  <a:t>             </a:t>
                </a:r>
                <a:r>
                  <a:rPr kumimoji="0" lang="en-US" sz="1300" b="1" i="0" u="none" strike="noStrike" kern="0" cap="none" spc="0" normalizeH="0" baseline="0" noProof="0" dirty="0">
                    <a:ln>
                      <a:noFill/>
                    </a:ln>
                    <a:solidFill>
                      <a:srgbClr val="62B5E5"/>
                    </a:solidFill>
                    <a:effectLst/>
                    <a:uLnTx/>
                    <a:uFillTx/>
                    <a:latin typeface="Calibri Light" panose="020F0302020204030204" pitchFamily="34" charset="0"/>
                    <a:ea typeface="+mn-ea"/>
                    <a:cs typeface="Calibri Light" panose="020F0302020204030204" pitchFamily="34" charset="0"/>
                  </a:rPr>
                  <a:t>PHƯƠNG PHÁP ỨNG PHÓ</a:t>
                </a:r>
              </a:p>
            </p:txBody>
          </p:sp>
        </p:grpSp>
        <p:sp>
          <p:nvSpPr>
            <p:cNvPr id="32" name="TextBox 31">
              <a:extLst>
                <a:ext uri="{FF2B5EF4-FFF2-40B4-BE49-F238E27FC236}">
                  <a16:creationId xmlns:a16="http://schemas.microsoft.com/office/drawing/2014/main" id="{8B7B9ECC-30CE-40C7-B3B8-54C632997BA2}"/>
                </a:ext>
              </a:extLst>
            </p:cNvPr>
            <p:cNvSpPr txBox="1"/>
            <p:nvPr/>
          </p:nvSpPr>
          <p:spPr>
            <a:xfrm rot="19794374">
              <a:off x="-2709935" y="2727057"/>
              <a:ext cx="1124656" cy="165031"/>
            </a:xfrm>
            <a:prstGeom prst="rect">
              <a:avLst/>
            </a:prstGeom>
            <a:noFill/>
          </p:spPr>
          <p:txBody>
            <a:bodyPr wrap="square" lIns="0" tIns="0" rIns="0" bIns="0" rtlCol="0">
              <a:prstTxWarp prst="textArchDown">
                <a:avLst/>
              </a:prstTxWarp>
              <a:spAutoFit/>
            </a:bodyPr>
            <a:lstStyle/>
            <a:p>
              <a:pPr marL="0" marR="0" lvl="0" indent="0" algn="ctr" defTabSz="1219170" rtl="0" eaLnBrk="1" fontAlgn="auto" latinLnBrk="0" hangingPunct="1">
                <a:lnSpc>
                  <a:spcPct val="100000"/>
                </a:lnSpc>
                <a:spcBef>
                  <a:spcPts val="0"/>
                </a:spcBef>
                <a:spcAft>
                  <a:spcPts val="0"/>
                </a:spcAft>
                <a:buClrTx/>
                <a:buSzPct val="25000"/>
                <a:buFont typeface="Arial" panose="020B0604020202020204" pitchFamily="34" charset="0"/>
                <a:buChar char="‏"/>
                <a:tabLst/>
                <a:defRPr/>
              </a:pPr>
              <a:r>
                <a:rPr kumimoji="0" lang="en-US" sz="1300" b="1" i="0" u="none" strike="noStrike" kern="0" cap="none" spc="0" normalizeH="0" baseline="0" noProof="0" dirty="0">
                  <a:ln>
                    <a:noFill/>
                  </a:ln>
                  <a:solidFill>
                    <a:srgbClr val="62B5E5">
                      <a:lumMod val="75000"/>
                    </a:srgbClr>
                  </a:solidFill>
                  <a:effectLst/>
                  <a:uLnTx/>
                  <a:uFillTx/>
                  <a:latin typeface="Calibri Light" panose="020F0302020204030204" pitchFamily="34" charset="0"/>
                  <a:ea typeface="Verdana" panose="020B0604030504040204" pitchFamily="34" charset="0"/>
                  <a:cs typeface="Calibri Light" panose="020F0302020204030204" pitchFamily="34" charset="0"/>
                </a:rPr>
                <a:t>ỨNG PHÓ</a:t>
              </a:r>
            </a:p>
          </p:txBody>
        </p:sp>
      </p:grpSp>
      <p:sp>
        <p:nvSpPr>
          <p:cNvPr id="84" name="Text Placeholder 7">
            <a:extLst>
              <a:ext uri="{FF2B5EF4-FFF2-40B4-BE49-F238E27FC236}">
                <a16:creationId xmlns:a16="http://schemas.microsoft.com/office/drawing/2014/main" id="{CFE71F79-EE81-4804-8CBF-3873EE2CCF6E}"/>
              </a:ext>
            </a:extLst>
          </p:cNvPr>
          <p:cNvSpPr txBox="1">
            <a:spLocks/>
          </p:cNvSpPr>
          <p:nvPr/>
        </p:nvSpPr>
        <p:spPr>
          <a:xfrm>
            <a:off x="2555432" y="6192249"/>
            <a:ext cx="9267632" cy="1027628"/>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Một</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hương</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trình</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Quản</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lý</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khủng</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hoảng</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toàn</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diện</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ó</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thể</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mang</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err="1">
                <a:ln>
                  <a:noFill/>
                </a:ln>
                <a:solidFill>
                  <a:schemeClr val="accent1">
                    <a:lumMod val="50000"/>
                  </a:schemeClr>
                </a:solidFill>
                <a:effectLst/>
                <a:uLnTx/>
                <a:uFillTx/>
                <a:latin typeface="+mj-lt"/>
                <a:ea typeface="+mn-ea"/>
                <a:cs typeface="Calibri Light" panose="020F0302020204030204" pitchFamily="34" charset="0"/>
              </a:rPr>
              <a:t>lại</a:t>
            </a:r>
            <a:r>
              <a:rPr kumimoji="0" lang="en-US" sz="2000" b="0" i="0" u="none" strike="noStrike" kern="1200" cap="none" spc="0" normalizeH="0" baseline="0" noProof="0">
                <a:ln>
                  <a:noFill/>
                </a:ln>
                <a:solidFill>
                  <a:schemeClr val="accent1">
                    <a:lumMod val="50000"/>
                  </a:schemeClr>
                </a:solidFill>
                <a:effectLst/>
                <a:uLnTx/>
                <a:uFillTx/>
                <a:latin typeface="+mj-lt"/>
                <a:ea typeface="+mn-ea"/>
                <a:cs typeface="Calibri Light" panose="020F0302020204030204" pitchFamily="34" charset="0"/>
              </a:rPr>
              <a:t> cách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tiếp</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ận</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ó</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tổ</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hức</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ó</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hệ</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thống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để</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chuẩn</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bị</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và</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ứng</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phó</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đối</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với</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khủng</a:t>
            </a:r>
            <a:r>
              <a:rPr kumimoji="0" lang="en-US"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rPr>
              <a:t> </a:t>
            </a:r>
            <a:r>
              <a:rPr kumimoji="0" lang="en-US" sz="2000" b="0" i="0" u="none" strike="noStrike" kern="1200" cap="none" spc="0" normalizeH="0" baseline="0" noProof="0" dirty="0" err="1">
                <a:ln>
                  <a:noFill/>
                </a:ln>
                <a:solidFill>
                  <a:schemeClr val="accent1">
                    <a:lumMod val="50000"/>
                  </a:schemeClr>
                </a:solidFill>
                <a:effectLst/>
                <a:uLnTx/>
                <a:uFillTx/>
                <a:latin typeface="+mj-lt"/>
                <a:ea typeface="+mn-ea"/>
                <a:cs typeface="Calibri Light" panose="020F0302020204030204" pitchFamily="34" charset="0"/>
              </a:rPr>
              <a:t>hoảng</a:t>
            </a:r>
            <a:endParaRPr kumimoji="0" lang="vi-VN" sz="2000" b="0" i="0" u="none" strike="noStrike" kern="1200" cap="none" spc="0" normalizeH="0" baseline="0" noProof="0" dirty="0">
              <a:ln>
                <a:noFill/>
              </a:ln>
              <a:solidFill>
                <a:schemeClr val="accent1">
                  <a:lumMod val="50000"/>
                </a:schemeClr>
              </a:solidFill>
              <a:effectLst/>
              <a:uLnTx/>
              <a:uFillTx/>
              <a:latin typeface="+mj-lt"/>
              <a:ea typeface="+mn-ea"/>
              <a:cs typeface="Calibri Light" panose="020F0302020204030204" pitchFamily="34" charset="0"/>
            </a:endParaRPr>
          </a:p>
        </p:txBody>
      </p:sp>
    </p:spTree>
    <p:extLst>
      <p:ext uri="{BB962C8B-B14F-4D97-AF65-F5344CB8AC3E}">
        <p14:creationId xmlns:p14="http://schemas.microsoft.com/office/powerpoint/2010/main" val="289484955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230210"/>
            <a:ext cx="1547608" cy="895983"/>
          </a:xfrm>
          <a:prstGeom prst="rect">
            <a:avLst/>
          </a:prstGeom>
        </p:spPr>
      </p:pic>
      <p:sp>
        <p:nvSpPr>
          <p:cNvPr id="13" name="Rectangle 12">
            <a:extLst>
              <a:ext uri="{FF2B5EF4-FFF2-40B4-BE49-F238E27FC236}">
                <a16:creationId xmlns:a16="http://schemas.microsoft.com/office/drawing/2014/main" id="{DDA49807-B2ED-4F6E-9F27-A0311D8217CF}"/>
              </a:ext>
            </a:extLst>
          </p:cNvPr>
          <p:cNvSpPr/>
          <p:nvPr/>
        </p:nvSpPr>
        <p:spPr>
          <a:xfrm>
            <a:off x="368936" y="6456323"/>
            <a:ext cx="1791196" cy="276999"/>
          </a:xfrm>
          <a:prstGeom prst="rect">
            <a:avLst/>
          </a:prstGeom>
        </p:spPr>
        <p:txBody>
          <a:bodyPr wrap="non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pic>
        <p:nvPicPr>
          <p:cNvPr id="14" name="Picture 13" descr="A picture containing text, outdoor object&#10;&#10;Description automatically generated">
            <a:extLst>
              <a:ext uri="{FF2B5EF4-FFF2-40B4-BE49-F238E27FC236}">
                <a16:creationId xmlns:a16="http://schemas.microsoft.com/office/drawing/2014/main" id="{C16EC7CA-ABD9-46FE-8D6C-6A0251945EC6}"/>
              </a:ext>
            </a:extLst>
          </p:cNvPr>
          <p:cNvPicPr>
            <a:picLocks noChangeAspect="1"/>
          </p:cNvPicPr>
          <p:nvPr/>
        </p:nvPicPr>
        <p:blipFill rotWithShape="1">
          <a:blip r:embed="rId4">
            <a:extLst>
              <a:ext uri="{28A0092B-C50C-407E-A947-70E740481C1C}">
                <a14:useLocalDpi xmlns:a14="http://schemas.microsoft.com/office/drawing/2010/main" val="0"/>
              </a:ext>
            </a:extLst>
          </a:blip>
          <a:srcRect t="23967" b="24920"/>
          <a:stretch/>
        </p:blipFill>
        <p:spPr>
          <a:xfrm>
            <a:off x="0" y="3352800"/>
            <a:ext cx="12192000" cy="3505200"/>
          </a:xfrm>
          <a:prstGeom prst="rect">
            <a:avLst/>
          </a:prstGeom>
        </p:spPr>
      </p:pic>
      <p:sp>
        <p:nvSpPr>
          <p:cNvPr id="17" name="TextBox 16">
            <a:extLst>
              <a:ext uri="{FF2B5EF4-FFF2-40B4-BE49-F238E27FC236}">
                <a16:creationId xmlns:a16="http://schemas.microsoft.com/office/drawing/2014/main" id="{56C259A7-385F-44D7-9740-99313B30E3F8}"/>
              </a:ext>
            </a:extLst>
          </p:cNvPr>
          <p:cNvSpPr txBox="1"/>
          <p:nvPr/>
        </p:nvSpPr>
        <p:spPr>
          <a:xfrm>
            <a:off x="368936" y="1531610"/>
            <a:ext cx="4014650" cy="584775"/>
          </a:xfrm>
          <a:prstGeom prst="rect">
            <a:avLst/>
          </a:prstGeom>
          <a:noFill/>
          <a:ln>
            <a:noFill/>
          </a:ln>
        </p:spPr>
        <p:txBody>
          <a:bodyPr wrap="square" rtlCol="0">
            <a:spAutoFit/>
          </a:bodyPr>
          <a:lstStyle/>
          <a:p>
            <a:pPr>
              <a:defRPr/>
            </a:pPr>
            <a:r>
              <a:rPr lang="en-US" sz="3200" b="1" dirty="0">
                <a:solidFill>
                  <a:schemeClr val="accent1"/>
                </a:solidFill>
                <a:latin typeface="Calibri Light" panose="020F0302020204030204" pitchFamily="34" charset="0"/>
                <a:ea typeface="Open Sans" panose="020B0606030504020204" pitchFamily="34" charset="0"/>
                <a:cs typeface="Calibri Light" panose="020F0302020204030204" pitchFamily="34" charset="0"/>
              </a:rPr>
              <a:t>DN “</a:t>
            </a:r>
            <a:r>
              <a:rPr lang="en-US" sz="3200" b="1" dirty="0" err="1">
                <a:solidFill>
                  <a:schemeClr val="accent1"/>
                </a:solidFill>
                <a:latin typeface="Calibri Light" panose="020F0302020204030204" pitchFamily="34" charset="0"/>
                <a:ea typeface="Open Sans" panose="020B0606030504020204" pitchFamily="34" charset="0"/>
                <a:cs typeface="Calibri Light" panose="020F0302020204030204" pitchFamily="34" charset="0"/>
              </a:rPr>
              <a:t>kiên</a:t>
            </a:r>
            <a:r>
              <a:rPr lang="en-US" sz="3200" b="1" dirty="0">
                <a:solidFill>
                  <a:schemeClr val="accent1"/>
                </a:solidFill>
                <a:latin typeface="Calibri Light" panose="020F0302020204030204" pitchFamily="34" charset="0"/>
                <a:ea typeface="Open Sans" panose="020B0606030504020204" pitchFamily="34" charset="0"/>
                <a:cs typeface="Calibri Light" panose="020F0302020204030204" pitchFamily="34" charset="0"/>
              </a:rPr>
              <a:t> </a:t>
            </a:r>
            <a:r>
              <a:rPr lang="en-US" sz="3200" b="1" err="1">
                <a:solidFill>
                  <a:schemeClr val="accent1"/>
                </a:solidFill>
                <a:latin typeface="Calibri Light" panose="020F0302020204030204" pitchFamily="34" charset="0"/>
                <a:ea typeface="Open Sans" panose="020B0606030504020204" pitchFamily="34" charset="0"/>
                <a:cs typeface="Calibri Light" panose="020F0302020204030204" pitchFamily="34" charset="0"/>
              </a:rPr>
              <a:t>cường</a:t>
            </a:r>
            <a:r>
              <a:rPr lang="en-US" sz="3200" b="1">
                <a:solidFill>
                  <a:schemeClr val="accent1"/>
                </a:solidFill>
                <a:latin typeface="Calibri Light" panose="020F0302020204030204" pitchFamily="34" charset="0"/>
                <a:ea typeface="Open Sans" panose="020B0606030504020204" pitchFamily="34" charset="0"/>
                <a:cs typeface="Calibri Light" panose="020F0302020204030204" pitchFamily="34" charset="0"/>
              </a:rPr>
              <a:t>” </a:t>
            </a:r>
            <a:endParaRPr lang="en-US" sz="1400" dirty="0">
              <a:solidFill>
                <a:prstClr val="white"/>
              </a:solidFill>
              <a:latin typeface="Calibri Light" panose="020F0302020204030204" pitchFamily="34" charset="0"/>
              <a:ea typeface="Open Sans" panose="020B0606030504020204" pitchFamily="34" charset="0"/>
              <a:cs typeface="Calibri Light" panose="020F0302020204030204" pitchFamily="34" charset="0"/>
            </a:endParaRPr>
          </a:p>
        </p:txBody>
      </p:sp>
      <p:sp>
        <p:nvSpPr>
          <p:cNvPr id="18" name="TextBox 17">
            <a:extLst>
              <a:ext uri="{FF2B5EF4-FFF2-40B4-BE49-F238E27FC236}">
                <a16:creationId xmlns:a16="http://schemas.microsoft.com/office/drawing/2014/main" id="{2F6148DA-7E5A-4618-90AB-EF73F1553D46}"/>
              </a:ext>
            </a:extLst>
          </p:cNvPr>
          <p:cNvSpPr txBox="1"/>
          <p:nvPr/>
        </p:nvSpPr>
        <p:spPr>
          <a:xfrm>
            <a:off x="368936" y="2286093"/>
            <a:ext cx="6015444" cy="584775"/>
          </a:xfrm>
          <a:prstGeom prst="rect">
            <a:avLst/>
          </a:prstGeom>
          <a:noFill/>
          <a:ln>
            <a:noFill/>
          </a:ln>
        </p:spPr>
        <p:txBody>
          <a:bodyPr wrap="square" rtlCol="0">
            <a:spAutoFit/>
          </a:bodyPr>
          <a:lstStyle/>
          <a:p>
            <a:pPr>
              <a:defRPr/>
            </a:pPr>
            <a:r>
              <a:rPr lang="en-US" sz="3200" b="1">
                <a:solidFill>
                  <a:schemeClr val="accent1"/>
                </a:solidFill>
                <a:latin typeface="Calibri Light" panose="020F0302020204030204" pitchFamily="34" charset="0"/>
                <a:ea typeface="Open Sans" panose="020B0606030504020204" pitchFamily="34" charset="0"/>
                <a:cs typeface="Calibri Light" panose="020F0302020204030204" pitchFamily="34" charset="0"/>
              </a:rPr>
              <a:t>Lãnh đạo </a:t>
            </a:r>
            <a:r>
              <a:rPr lang="en-US" sz="3200" b="1" dirty="0">
                <a:solidFill>
                  <a:schemeClr val="accent1"/>
                </a:solidFill>
                <a:latin typeface="Calibri Light" panose="020F0302020204030204" pitchFamily="34" charset="0"/>
                <a:ea typeface="Open Sans" panose="020B0606030504020204" pitchFamily="34" charset="0"/>
                <a:cs typeface="Calibri Light" panose="020F0302020204030204" pitchFamily="34" charset="0"/>
              </a:rPr>
              <a:t>“</a:t>
            </a:r>
            <a:r>
              <a:rPr lang="en-US" sz="3200" b="1" err="1">
                <a:solidFill>
                  <a:schemeClr val="accent1"/>
                </a:solidFill>
                <a:latin typeface="Calibri Light" panose="020F0302020204030204" pitchFamily="34" charset="0"/>
                <a:ea typeface="Open Sans" panose="020B0606030504020204" pitchFamily="34" charset="0"/>
                <a:cs typeface="Calibri Light" panose="020F0302020204030204" pitchFamily="34" charset="0"/>
              </a:rPr>
              <a:t>kiên</a:t>
            </a:r>
            <a:r>
              <a:rPr lang="en-US" sz="3200" b="1">
                <a:solidFill>
                  <a:schemeClr val="accent1"/>
                </a:solidFill>
                <a:latin typeface="Calibri Light" panose="020F0302020204030204" pitchFamily="34" charset="0"/>
                <a:ea typeface="Open Sans" panose="020B0606030504020204" pitchFamily="34" charset="0"/>
                <a:cs typeface="Calibri Light" panose="020F0302020204030204" pitchFamily="34" charset="0"/>
              </a:rPr>
              <a:t> tâm” </a:t>
            </a:r>
            <a:endParaRPr lang="en-US" sz="3200" b="1" dirty="0">
              <a:solidFill>
                <a:schemeClr val="accent1"/>
              </a:solidFill>
              <a:latin typeface="Calibri Light" panose="020F0302020204030204" pitchFamily="34" charset="0"/>
              <a:ea typeface="Open Sans" panose="020B0606030504020204" pitchFamily="34" charset="0"/>
              <a:cs typeface="Calibri Light" panose="020F0302020204030204" pitchFamily="34" charset="0"/>
            </a:endParaRPr>
          </a:p>
        </p:txBody>
      </p:sp>
      <p:cxnSp>
        <p:nvCxnSpPr>
          <p:cNvPr id="19" name="Straight Connector 18">
            <a:extLst>
              <a:ext uri="{FF2B5EF4-FFF2-40B4-BE49-F238E27FC236}">
                <a16:creationId xmlns:a16="http://schemas.microsoft.com/office/drawing/2014/main" id="{AE9CCB35-9605-4372-97AE-FBB18FD2AC4E}"/>
              </a:ext>
            </a:extLst>
          </p:cNvPr>
          <p:cNvCxnSpPr>
            <a:cxnSpLocks/>
          </p:cNvCxnSpPr>
          <p:nvPr/>
        </p:nvCxnSpPr>
        <p:spPr>
          <a:xfrm>
            <a:off x="4383586" y="1201985"/>
            <a:ext cx="0" cy="1828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4EB35E4-C8B1-4623-BF6D-919CB710D333}"/>
              </a:ext>
            </a:extLst>
          </p:cNvPr>
          <p:cNvSpPr/>
          <p:nvPr/>
        </p:nvSpPr>
        <p:spPr>
          <a:xfrm>
            <a:off x="4626617" y="1735103"/>
            <a:ext cx="6363596" cy="954107"/>
          </a:xfrm>
          <a:prstGeom prst="rect">
            <a:avLst/>
          </a:prstGeom>
        </p:spPr>
        <p:txBody>
          <a:bodyPr wrap="square">
            <a:spAutoFit/>
          </a:bodyPr>
          <a:lstStyle/>
          <a:p>
            <a:r>
              <a:rPr lang="en-US" sz="2800">
                <a:latin typeface="Calibri Light" panose="020F0302020204030204" pitchFamily="34" charset="0"/>
                <a:ea typeface="Open Sans" panose="020B0606030504020204" pitchFamily="34" charset="0"/>
                <a:cs typeface="Calibri Light" panose="020F0302020204030204" pitchFamily="34" charset="0"/>
              </a:rPr>
              <a:t>khả năng ứng phó vững vàng và vượt qua khủng hoảng cao gấp </a:t>
            </a:r>
            <a:r>
              <a:rPr lang="en-US" sz="2800" b="1">
                <a:latin typeface="Calibri Light" panose="020F0302020204030204" pitchFamily="34" charset="0"/>
                <a:ea typeface="Open Sans" panose="020B0606030504020204" pitchFamily="34" charset="0"/>
                <a:cs typeface="Calibri Light" panose="020F0302020204030204" pitchFamily="34" charset="0"/>
              </a:rPr>
              <a:t>3</a:t>
            </a:r>
            <a:r>
              <a:rPr lang="en-US" sz="2800">
                <a:latin typeface="Calibri Light" panose="020F0302020204030204" pitchFamily="34" charset="0"/>
                <a:ea typeface="Open Sans" panose="020B0606030504020204" pitchFamily="34" charset="0"/>
                <a:cs typeface="Calibri Light" panose="020F0302020204030204" pitchFamily="34" charset="0"/>
              </a:rPr>
              <a:t> lần</a:t>
            </a:r>
            <a:endParaRPr lang="en-US" sz="1400" dirty="0">
              <a:latin typeface="Calibri Light" panose="020F0302020204030204" pitchFamily="34" charset="0"/>
              <a:cs typeface="Calibri Light" panose="020F0302020204030204" pitchFamily="34" charset="0"/>
            </a:endParaRPr>
          </a:p>
        </p:txBody>
      </p:sp>
      <p:sp>
        <p:nvSpPr>
          <p:cNvPr id="5" name="Rectangle 4">
            <a:extLst>
              <a:ext uri="{FF2B5EF4-FFF2-40B4-BE49-F238E27FC236}">
                <a16:creationId xmlns:a16="http://schemas.microsoft.com/office/drawing/2014/main" id="{A9FE00E8-B393-4451-92FA-B56C74298590}"/>
              </a:ext>
            </a:extLst>
          </p:cNvPr>
          <p:cNvSpPr/>
          <p:nvPr/>
        </p:nvSpPr>
        <p:spPr>
          <a:xfrm>
            <a:off x="3239050" y="3030785"/>
            <a:ext cx="8730344" cy="276999"/>
          </a:xfrm>
          <a:prstGeom prst="rect">
            <a:avLst/>
          </a:prstGeom>
        </p:spPr>
        <p:txBody>
          <a:bodyPr wrap="square">
            <a:spAutoFit/>
          </a:bodyPr>
          <a:lstStyle/>
          <a:p>
            <a:pPr lvl="0" algn="r">
              <a:spcBef>
                <a:spcPct val="0"/>
              </a:spcBef>
              <a:spcAft>
                <a:spcPct val="0"/>
              </a:spcAft>
              <a:defRPr/>
            </a:pPr>
            <a:r>
              <a:rPr lang="en-US" sz="1200" i="1" spc="100">
                <a:latin typeface="Calibri Light" panose="020F0302020204030204" pitchFamily="34" charset="0"/>
                <a:ea typeface="Open Sans" panose="020B0606030504020204" pitchFamily="34" charset="0"/>
                <a:cs typeface="Calibri Light" panose="020F0302020204030204" pitchFamily="34" charset="0"/>
              </a:rPr>
              <a:t>Nguồn: Tổ chức kiên cường – Vững vàng trong thử thách, Deloitte Việt Nam, T8/2021</a:t>
            </a:r>
            <a:endParaRPr lang="en-US" sz="1200" i="1" dirty="0">
              <a:latin typeface="Calibri Light" panose="020F0302020204030204" pitchFamily="34" charset="0"/>
              <a:ea typeface="Open Sans" panose="020B0606030504020204" pitchFamily="34" charset="0"/>
              <a:cs typeface="Calibri Light" panose="020F0302020204030204" pitchFamily="34" charset="0"/>
            </a:endParaRPr>
          </a:p>
        </p:txBody>
      </p:sp>
      <p:sp>
        <p:nvSpPr>
          <p:cNvPr id="10" name="Google Shape;2937;p311">
            <a:extLst>
              <a:ext uri="{FF2B5EF4-FFF2-40B4-BE49-F238E27FC236}">
                <a16:creationId xmlns:a16="http://schemas.microsoft.com/office/drawing/2014/main" id="{617380B7-C111-4433-9051-A18CD137E35D}"/>
              </a:ext>
            </a:extLst>
          </p:cNvPr>
          <p:cNvSpPr txBox="1">
            <a:spLocks/>
          </p:cNvSpPr>
          <p:nvPr/>
        </p:nvSpPr>
        <p:spPr bwMode="gray">
          <a:xfrm>
            <a:off x="261841" y="598724"/>
            <a:ext cx="11252200" cy="525565"/>
          </a:xfrm>
          <a:prstGeom prst="rect">
            <a:avLst/>
          </a:prstGeom>
          <a:noFill/>
          <a:ln>
            <a:noFill/>
          </a:ln>
        </p:spPr>
        <p:txBody>
          <a:bodyPr spcFirstLastPara="1" vert="horz" wrap="square"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ctr" defTabSz="1219170" rtl="0" eaLnBrk="1" fontAlgn="base" latinLnBrk="0" hangingPunct="1">
              <a:lnSpc>
                <a:spcPct val="110000"/>
              </a:lnSpc>
              <a:spcBef>
                <a:spcPct val="0"/>
              </a:spcBef>
              <a:spcAft>
                <a:spcPct val="0"/>
              </a:spcAft>
              <a:buClrTx/>
              <a:buSzTx/>
              <a:buFontTx/>
              <a:buNone/>
              <a:tabLst/>
              <a:defRPr/>
            </a:pPr>
            <a:r>
              <a:rPr kumimoji="0" lang="en-US" sz="3200" b="1" i="0" u="none" strike="noStrike" kern="1200" cap="none" spc="0" normalizeH="0" baseline="0" noProof="0">
                <a:ln>
                  <a:noFill/>
                </a:ln>
                <a:solidFill>
                  <a:srgbClr val="86BC25"/>
                </a:solidFill>
                <a:effectLst/>
                <a:uLnTx/>
                <a:uFillTx/>
                <a:ea typeface="Verdana" panose="020B0604030504040204" pitchFamily="34" charset="0"/>
                <a:cs typeface="Calibri" panose="020F0502020204030204" pitchFamily="34" charset="0"/>
              </a:rPr>
              <a:t>Quản trị rủi ro – Quản trị khủng hoảng</a:t>
            </a:r>
            <a:endParaRPr kumimoji="0" lang="en-US" sz="3200" b="1" i="0" u="none" strike="noStrike" kern="1200" cap="none" spc="0" normalizeH="0" baseline="0" noProof="0" dirty="0">
              <a:ln>
                <a:noFill/>
              </a:ln>
              <a:solidFill>
                <a:srgbClr val="86BC25"/>
              </a:solidFill>
              <a:effectLst/>
              <a:uLnTx/>
              <a:uFillTx/>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2933752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text, vector graphics, fan, device&#10;&#10;Description automatically generated">
            <a:extLst>
              <a:ext uri="{FF2B5EF4-FFF2-40B4-BE49-F238E27FC236}">
                <a16:creationId xmlns:a16="http://schemas.microsoft.com/office/drawing/2014/main" id="{1B1653C7-ECC0-4822-BDCE-8048BC1EDA06}"/>
              </a:ext>
            </a:extLst>
          </p:cNvPr>
          <p:cNvPicPr>
            <a:picLocks noChangeAspect="1"/>
          </p:cNvPicPr>
          <p:nvPr/>
        </p:nvPicPr>
        <p:blipFill>
          <a:blip r:embed="rId3"/>
          <a:stretch>
            <a:fillRect/>
          </a:stretch>
        </p:blipFill>
        <p:spPr>
          <a:xfrm>
            <a:off x="10421786" y="208439"/>
            <a:ext cx="1547608" cy="895983"/>
          </a:xfrm>
          <a:prstGeom prst="rect">
            <a:avLst/>
          </a:prstGeom>
        </p:spPr>
      </p:pic>
      <p:sp>
        <p:nvSpPr>
          <p:cNvPr id="13" name="Rectangle 12">
            <a:extLst>
              <a:ext uri="{FF2B5EF4-FFF2-40B4-BE49-F238E27FC236}">
                <a16:creationId xmlns:a16="http://schemas.microsoft.com/office/drawing/2014/main" id="{DDA49807-B2ED-4F6E-9F27-A0311D8217CF}"/>
              </a:ext>
            </a:extLst>
          </p:cNvPr>
          <p:cNvSpPr/>
          <p:nvPr/>
        </p:nvSpPr>
        <p:spPr>
          <a:xfrm>
            <a:off x="351925" y="6466652"/>
            <a:ext cx="1825218" cy="276999"/>
          </a:xfrm>
          <a:prstGeom prst="rect">
            <a:avLst/>
          </a:prstGeom>
        </p:spPr>
        <p:txBody>
          <a:bodyPr wrap="square">
            <a:spAutoFit/>
          </a:bodyPr>
          <a:lstStyle/>
          <a:p>
            <a:pPr>
              <a:spcAft>
                <a:spcPts val="600"/>
              </a:spcAft>
            </a:pPr>
            <a:r>
              <a:rPr lang="vi-VN" sz="1200" dirty="0">
                <a:solidFill>
                  <a:schemeClr val="tx1">
                    <a:lumMod val="50000"/>
                    <a:lumOff val="50000"/>
                  </a:schemeClr>
                </a:solidFill>
                <a:cs typeface="Calibri" panose="020F0502020204030204" pitchFamily="34" charset="0"/>
              </a:rPr>
              <a:t>©</a:t>
            </a:r>
            <a:r>
              <a:rPr lang="en-US" sz="1200" dirty="0">
                <a:solidFill>
                  <a:schemeClr val="tx1">
                    <a:lumMod val="50000"/>
                    <a:lumOff val="50000"/>
                  </a:schemeClr>
                </a:solidFill>
                <a:cs typeface="Calibri" panose="020F0502020204030204" pitchFamily="34" charset="0"/>
              </a:rPr>
              <a:t> </a:t>
            </a:r>
            <a:r>
              <a:rPr lang="vi-VN" sz="1200" dirty="0">
                <a:solidFill>
                  <a:schemeClr val="tx1">
                    <a:lumMod val="50000"/>
                    <a:lumOff val="50000"/>
                  </a:schemeClr>
                </a:solidFill>
                <a:cs typeface="Calibri" panose="020F0502020204030204" pitchFamily="34" charset="0"/>
              </a:rPr>
              <a:t>202</a:t>
            </a:r>
            <a:r>
              <a:rPr lang="en-US" sz="1200">
                <a:solidFill>
                  <a:schemeClr val="tx1">
                    <a:lumMod val="50000"/>
                    <a:lumOff val="50000"/>
                  </a:schemeClr>
                </a:solidFill>
                <a:cs typeface="Calibri" panose="020F0502020204030204" pitchFamily="34" charset="0"/>
              </a:rPr>
              <a:t>1</a:t>
            </a:r>
            <a:r>
              <a:rPr lang="vi-VN" sz="1200">
                <a:solidFill>
                  <a:schemeClr val="tx1">
                    <a:lumMod val="50000"/>
                    <a:lumOff val="50000"/>
                  </a:schemeClr>
                </a:solidFill>
                <a:cs typeface="Calibri" panose="020F0502020204030204" pitchFamily="34" charset="0"/>
              </a:rPr>
              <a:t> </a:t>
            </a:r>
            <a:r>
              <a:rPr lang="en-US" sz="1200">
                <a:solidFill>
                  <a:schemeClr val="tx1">
                    <a:lumMod val="50000"/>
                    <a:lumOff val="50000"/>
                  </a:schemeClr>
                </a:solidFill>
                <a:cs typeface="Calibri" panose="020F0502020204030204" pitchFamily="34" charset="0"/>
              </a:rPr>
              <a:t>Deloite Việt Nam</a:t>
            </a:r>
            <a:endParaRPr lang="en-US" sz="1200" dirty="0">
              <a:solidFill>
                <a:schemeClr val="tx1">
                  <a:lumMod val="50000"/>
                  <a:lumOff val="50000"/>
                </a:schemeClr>
              </a:solidFill>
              <a:cs typeface="Calibri" panose="020F0502020204030204" pitchFamily="34" charset="0"/>
            </a:endParaRPr>
          </a:p>
        </p:txBody>
      </p:sp>
      <p:grpSp>
        <p:nvGrpSpPr>
          <p:cNvPr id="2" name="Group 1">
            <a:extLst>
              <a:ext uri="{FF2B5EF4-FFF2-40B4-BE49-F238E27FC236}">
                <a16:creationId xmlns:a16="http://schemas.microsoft.com/office/drawing/2014/main" id="{0D55111C-9040-4BB5-AC93-91E63211367D}"/>
              </a:ext>
            </a:extLst>
          </p:cNvPr>
          <p:cNvGrpSpPr/>
          <p:nvPr/>
        </p:nvGrpSpPr>
        <p:grpSpPr>
          <a:xfrm>
            <a:off x="657682" y="233798"/>
            <a:ext cx="11206521" cy="6314769"/>
            <a:chOff x="657682" y="233798"/>
            <a:chExt cx="11206521" cy="6314769"/>
          </a:xfrm>
        </p:grpSpPr>
        <p:sp>
          <p:nvSpPr>
            <p:cNvPr id="35" name="Oval 34">
              <a:extLst>
                <a:ext uri="{FF2B5EF4-FFF2-40B4-BE49-F238E27FC236}">
                  <a16:creationId xmlns:a16="http://schemas.microsoft.com/office/drawing/2014/main" id="{96EC621A-29C9-4166-BCAF-AA5A9172FA30}"/>
                </a:ext>
              </a:extLst>
            </p:cNvPr>
            <p:cNvSpPr/>
            <p:nvPr/>
          </p:nvSpPr>
          <p:spPr>
            <a:xfrm>
              <a:off x="4027231" y="1595904"/>
              <a:ext cx="4140460" cy="4140460"/>
            </a:xfrm>
            <a:prstGeom prst="ellipse">
              <a:avLst/>
            </a:prstGeom>
            <a:solidFill>
              <a:schemeClr val="bg2">
                <a:lumMod val="60000"/>
                <a:lumOff val="40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6" name="Freeform 73">
              <a:extLst>
                <a:ext uri="{FF2B5EF4-FFF2-40B4-BE49-F238E27FC236}">
                  <a16:creationId xmlns:a16="http://schemas.microsoft.com/office/drawing/2014/main" id="{D093E4B2-D423-4101-9296-394E4BF0C1F1}"/>
                </a:ext>
              </a:extLst>
            </p:cNvPr>
            <p:cNvSpPr/>
            <p:nvPr/>
          </p:nvSpPr>
          <p:spPr>
            <a:xfrm>
              <a:off x="3454605" y="2847327"/>
              <a:ext cx="2474594" cy="35421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28103 w 1834570"/>
                <a:gd name="connsiteY0" fmla="*/ 0 h 2626034"/>
                <a:gd name="connsiteX1" fmla="*/ 1008 w 1834570"/>
                <a:gd name="connsiteY1" fmla="*/ 1044884 h 2626034"/>
                <a:gd name="connsiteX2" fmla="*/ 1834570 w 1834570"/>
                <a:gd name="connsiteY2" fmla="*/ 2626034 h 2626034"/>
                <a:gd name="connsiteX3" fmla="*/ 1123370 w 1834570"/>
                <a:gd name="connsiteY3" fmla="*/ 1516900 h 2626034"/>
                <a:gd name="connsiteX4" fmla="*/ 1148241 w 1834570"/>
                <a:gd name="connsiteY4" fmla="*/ 861792 h 2626034"/>
                <a:gd name="connsiteX5" fmla="*/ 1128103 w 1834570"/>
                <a:gd name="connsiteY5" fmla="*/ 0 h 2626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70" h="2626034">
                  <a:moveTo>
                    <a:pt x="1128103" y="0"/>
                  </a:moveTo>
                  <a:cubicBezTo>
                    <a:pt x="311774" y="11995"/>
                    <a:pt x="-20864" y="499489"/>
                    <a:pt x="1008" y="1044884"/>
                  </a:cubicBezTo>
                  <a:cubicBezTo>
                    <a:pt x="-2167" y="1171884"/>
                    <a:pt x="342320" y="2403783"/>
                    <a:pt x="1834570" y="2626034"/>
                  </a:cubicBezTo>
                  <a:cubicBezTo>
                    <a:pt x="1059340" y="2294423"/>
                    <a:pt x="1084212" y="1705636"/>
                    <a:pt x="1123370" y="1516900"/>
                  </a:cubicBezTo>
                  <a:cubicBezTo>
                    <a:pt x="1131660" y="1298531"/>
                    <a:pt x="1206627" y="1170648"/>
                    <a:pt x="1148241" y="861792"/>
                  </a:cubicBezTo>
                  <a:cubicBezTo>
                    <a:pt x="993195" y="432990"/>
                    <a:pt x="63948" y="85902"/>
                    <a:pt x="1128103" y="0"/>
                  </a:cubicBezTo>
                  <a:close/>
                </a:path>
              </a:pathLst>
            </a:cu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7" name="Freeform 74">
              <a:extLst>
                <a:ext uri="{FF2B5EF4-FFF2-40B4-BE49-F238E27FC236}">
                  <a16:creationId xmlns:a16="http://schemas.microsoft.com/office/drawing/2014/main" id="{F59AF347-716B-4698-B0EA-B0BC76F204A1}"/>
                </a:ext>
              </a:extLst>
            </p:cNvPr>
            <p:cNvSpPr/>
            <p:nvPr/>
          </p:nvSpPr>
          <p:spPr>
            <a:xfrm rot="4341267">
              <a:off x="3549561" y="775642"/>
              <a:ext cx="2474543" cy="3582372"/>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1852 w 1834534"/>
                <a:gd name="connsiteY0" fmla="*/ 0 h 2612705"/>
                <a:gd name="connsiteX1" fmla="*/ 972 w 1834534"/>
                <a:gd name="connsiteY1" fmla="*/ 1031555 h 2612705"/>
                <a:gd name="connsiteX2" fmla="*/ 1834534 w 1834534"/>
                <a:gd name="connsiteY2" fmla="*/ 2612705 h 2612705"/>
                <a:gd name="connsiteX3" fmla="*/ 1123334 w 1834534"/>
                <a:gd name="connsiteY3" fmla="*/ 1503571 h 2612705"/>
                <a:gd name="connsiteX4" fmla="*/ 1148205 w 1834534"/>
                <a:gd name="connsiteY4" fmla="*/ 848463 h 2612705"/>
                <a:gd name="connsiteX5" fmla="*/ 1141852 w 1834534"/>
                <a:gd name="connsiteY5" fmla="*/ 0 h 26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4" h="2612705">
                  <a:moveTo>
                    <a:pt x="1141852" y="0"/>
                  </a:moveTo>
                  <a:cubicBezTo>
                    <a:pt x="325523" y="11995"/>
                    <a:pt x="-20900" y="486160"/>
                    <a:pt x="972" y="1031555"/>
                  </a:cubicBezTo>
                  <a:cubicBezTo>
                    <a:pt x="-2203" y="1158555"/>
                    <a:pt x="342284" y="2390454"/>
                    <a:pt x="1834534" y="2612705"/>
                  </a:cubicBezTo>
                  <a:cubicBezTo>
                    <a:pt x="1059304" y="2281094"/>
                    <a:pt x="1084176" y="1692307"/>
                    <a:pt x="1123334" y="1503571"/>
                  </a:cubicBezTo>
                  <a:cubicBezTo>
                    <a:pt x="1131624" y="1285202"/>
                    <a:pt x="1206591" y="1157319"/>
                    <a:pt x="1148205" y="848463"/>
                  </a:cubicBezTo>
                  <a:cubicBezTo>
                    <a:pt x="993159" y="419661"/>
                    <a:pt x="77697" y="85902"/>
                    <a:pt x="1141852" y="0"/>
                  </a:cubicBezTo>
                  <a:close/>
                </a:path>
              </a:pathLst>
            </a:cu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8" name="Freeform 75">
              <a:extLst>
                <a:ext uri="{FF2B5EF4-FFF2-40B4-BE49-F238E27FC236}">
                  <a16:creationId xmlns:a16="http://schemas.microsoft.com/office/drawing/2014/main" id="{136C59C0-1458-4830-BC92-5CC2761E23A1}"/>
                </a:ext>
              </a:extLst>
            </p:cNvPr>
            <p:cNvSpPr/>
            <p:nvPr/>
          </p:nvSpPr>
          <p:spPr>
            <a:xfrm rot="8659183">
              <a:off x="5533674" y="233798"/>
              <a:ext cx="2474550" cy="3537971"/>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08 w 1834537"/>
                <a:gd name="connsiteY0" fmla="*/ 0 h 2622920"/>
                <a:gd name="connsiteX1" fmla="*/ 975 w 1834537"/>
                <a:gd name="connsiteY1" fmla="*/ 1041770 h 2622920"/>
                <a:gd name="connsiteX2" fmla="*/ 1834537 w 1834537"/>
                <a:gd name="connsiteY2" fmla="*/ 2622920 h 2622920"/>
                <a:gd name="connsiteX3" fmla="*/ 1123337 w 1834537"/>
                <a:gd name="connsiteY3" fmla="*/ 1513786 h 2622920"/>
                <a:gd name="connsiteX4" fmla="*/ 1148208 w 1834537"/>
                <a:gd name="connsiteY4" fmla="*/ 858678 h 2622920"/>
                <a:gd name="connsiteX5" fmla="*/ 1140208 w 1834537"/>
                <a:gd name="connsiteY5" fmla="*/ 0 h 26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22920">
                  <a:moveTo>
                    <a:pt x="1140208" y="0"/>
                  </a:moveTo>
                  <a:cubicBezTo>
                    <a:pt x="323879" y="11995"/>
                    <a:pt x="-20897" y="496375"/>
                    <a:pt x="975" y="1041770"/>
                  </a:cubicBezTo>
                  <a:cubicBezTo>
                    <a:pt x="-2200" y="1168770"/>
                    <a:pt x="342287" y="2400669"/>
                    <a:pt x="1834537" y="2622920"/>
                  </a:cubicBezTo>
                  <a:cubicBezTo>
                    <a:pt x="1059307" y="2291309"/>
                    <a:pt x="1084179" y="1702522"/>
                    <a:pt x="1123337" y="1513786"/>
                  </a:cubicBezTo>
                  <a:cubicBezTo>
                    <a:pt x="1131627" y="1295417"/>
                    <a:pt x="1206594" y="1167534"/>
                    <a:pt x="1148208" y="858678"/>
                  </a:cubicBezTo>
                  <a:cubicBezTo>
                    <a:pt x="993162" y="429876"/>
                    <a:pt x="76053" y="85902"/>
                    <a:pt x="1140208" y="0"/>
                  </a:cubicBezTo>
                  <a:close/>
                </a:path>
              </a:pathLst>
            </a:cu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39" name="Freeform 76">
              <a:extLst>
                <a:ext uri="{FF2B5EF4-FFF2-40B4-BE49-F238E27FC236}">
                  <a16:creationId xmlns:a16="http://schemas.microsoft.com/office/drawing/2014/main" id="{1F50FC56-E217-4DBB-897D-8A0F156E1128}"/>
                </a:ext>
              </a:extLst>
            </p:cNvPr>
            <p:cNvSpPr/>
            <p:nvPr/>
          </p:nvSpPr>
          <p:spPr>
            <a:xfrm rot="13082864">
              <a:off x="6635111" y="1973929"/>
              <a:ext cx="2474550" cy="3532734"/>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391 w 1834537"/>
                <a:gd name="connsiteY0" fmla="*/ 0 h 2619037"/>
                <a:gd name="connsiteX1" fmla="*/ 975 w 1834537"/>
                <a:gd name="connsiteY1" fmla="*/ 1037887 h 2619037"/>
                <a:gd name="connsiteX2" fmla="*/ 1834537 w 1834537"/>
                <a:gd name="connsiteY2" fmla="*/ 2619037 h 2619037"/>
                <a:gd name="connsiteX3" fmla="*/ 1123337 w 1834537"/>
                <a:gd name="connsiteY3" fmla="*/ 1509903 h 2619037"/>
                <a:gd name="connsiteX4" fmla="*/ 1148208 w 1834537"/>
                <a:gd name="connsiteY4" fmla="*/ 854795 h 2619037"/>
                <a:gd name="connsiteX5" fmla="*/ 1140391 w 1834537"/>
                <a:gd name="connsiteY5" fmla="*/ 0 h 2619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37" h="2619037">
                  <a:moveTo>
                    <a:pt x="1140391" y="0"/>
                  </a:moveTo>
                  <a:cubicBezTo>
                    <a:pt x="324062" y="11995"/>
                    <a:pt x="-20897" y="492492"/>
                    <a:pt x="975" y="1037887"/>
                  </a:cubicBezTo>
                  <a:cubicBezTo>
                    <a:pt x="-2200" y="1164887"/>
                    <a:pt x="342287" y="2396786"/>
                    <a:pt x="1834537" y="2619037"/>
                  </a:cubicBezTo>
                  <a:cubicBezTo>
                    <a:pt x="1059307" y="2287426"/>
                    <a:pt x="1084179" y="1698639"/>
                    <a:pt x="1123337" y="1509903"/>
                  </a:cubicBezTo>
                  <a:cubicBezTo>
                    <a:pt x="1131627" y="1291534"/>
                    <a:pt x="1206594" y="1163651"/>
                    <a:pt x="1148208" y="854795"/>
                  </a:cubicBezTo>
                  <a:cubicBezTo>
                    <a:pt x="993162" y="425993"/>
                    <a:pt x="76236" y="85902"/>
                    <a:pt x="1140391" y="0"/>
                  </a:cubicBezTo>
                  <a:close/>
                </a:path>
              </a:pathLst>
            </a:cu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0" name="Freeform 77">
              <a:extLst>
                <a:ext uri="{FF2B5EF4-FFF2-40B4-BE49-F238E27FC236}">
                  <a16:creationId xmlns:a16="http://schemas.microsoft.com/office/drawing/2014/main" id="{F4B0845E-3563-45EC-B4B3-25FF4695230F}"/>
                </a:ext>
              </a:extLst>
            </p:cNvPr>
            <p:cNvSpPr/>
            <p:nvPr/>
          </p:nvSpPr>
          <p:spPr>
            <a:xfrm rot="17264471">
              <a:off x="5382939" y="3544414"/>
              <a:ext cx="2474570" cy="3533736"/>
            </a:xfrm>
            <a:custGeom>
              <a:avLst/>
              <a:gdLst>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4533 w 1828800"/>
                <a:gd name="connsiteY0" fmla="*/ 0 h 2607734"/>
                <a:gd name="connsiteX1" fmla="*/ 0 w 1828800"/>
                <a:gd name="connsiteY1" fmla="*/ 1007534 h 2607734"/>
                <a:gd name="connsiteX2" fmla="*/ 1828800 w 1828800"/>
                <a:gd name="connsiteY2" fmla="*/ 2607734 h 2607734"/>
                <a:gd name="connsiteX3" fmla="*/ 1117600 w 1828800"/>
                <a:gd name="connsiteY3" fmla="*/ 1498600 h 2607734"/>
                <a:gd name="connsiteX4" fmla="*/ 1337733 w 1828800"/>
                <a:gd name="connsiteY4" fmla="*/ 567267 h 2607734"/>
                <a:gd name="connsiteX5" fmla="*/ 1134533 w 1828800"/>
                <a:gd name="connsiteY5" fmla="*/ 0 h 2607734"/>
                <a:gd name="connsiteX0" fmla="*/ 1135617 w 1829884"/>
                <a:gd name="connsiteY0" fmla="*/ 0 h 2607734"/>
                <a:gd name="connsiteX1" fmla="*/ 1084 w 1829884"/>
                <a:gd name="connsiteY1" fmla="*/ 1007534 h 2607734"/>
                <a:gd name="connsiteX2" fmla="*/ 1829884 w 1829884"/>
                <a:gd name="connsiteY2" fmla="*/ 2607734 h 2607734"/>
                <a:gd name="connsiteX3" fmla="*/ 1118684 w 1829884"/>
                <a:gd name="connsiteY3" fmla="*/ 1498600 h 2607734"/>
                <a:gd name="connsiteX4" fmla="*/ 1338817 w 1829884"/>
                <a:gd name="connsiteY4" fmla="*/ 567267 h 2607734"/>
                <a:gd name="connsiteX5" fmla="*/ 1135617 w 1829884"/>
                <a:gd name="connsiteY5" fmla="*/ 0 h 2607734"/>
                <a:gd name="connsiteX0" fmla="*/ 1154609 w 1848876"/>
                <a:gd name="connsiteY0" fmla="*/ 0 h 2607734"/>
                <a:gd name="connsiteX1" fmla="*/ 1026 w 1848876"/>
                <a:gd name="connsiteY1" fmla="*/ 1012296 h 2607734"/>
                <a:gd name="connsiteX2" fmla="*/ 1848876 w 1848876"/>
                <a:gd name="connsiteY2" fmla="*/ 2607734 h 2607734"/>
                <a:gd name="connsiteX3" fmla="*/ 1137676 w 1848876"/>
                <a:gd name="connsiteY3" fmla="*/ 1498600 h 2607734"/>
                <a:gd name="connsiteX4" fmla="*/ 1357809 w 1848876"/>
                <a:gd name="connsiteY4" fmla="*/ 567267 h 2607734"/>
                <a:gd name="connsiteX5" fmla="*/ 1154609 w 1848876"/>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54450 w 1848717"/>
                <a:gd name="connsiteY0" fmla="*/ 0 h 2607734"/>
                <a:gd name="connsiteX1" fmla="*/ 867 w 1848717"/>
                <a:gd name="connsiteY1" fmla="*/ 1012296 h 2607734"/>
                <a:gd name="connsiteX2" fmla="*/ 1848717 w 1848717"/>
                <a:gd name="connsiteY2" fmla="*/ 2607734 h 2607734"/>
                <a:gd name="connsiteX3" fmla="*/ 1137517 w 1848717"/>
                <a:gd name="connsiteY3" fmla="*/ 1498600 h 2607734"/>
                <a:gd name="connsiteX4" fmla="*/ 1357650 w 1848717"/>
                <a:gd name="connsiteY4" fmla="*/ 567267 h 2607734"/>
                <a:gd name="connsiteX5" fmla="*/ 1154450 w 1848717"/>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343392 w 1834459"/>
                <a:gd name="connsiteY4" fmla="*/ 567267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192 w 1834459"/>
                <a:gd name="connsiteY0" fmla="*/ 0 h 2607734"/>
                <a:gd name="connsiteX1" fmla="*/ 897 w 1834459"/>
                <a:gd name="connsiteY1" fmla="*/ 1026584 h 2607734"/>
                <a:gd name="connsiteX2" fmla="*/ 1834459 w 1834459"/>
                <a:gd name="connsiteY2" fmla="*/ 2607734 h 2607734"/>
                <a:gd name="connsiteX3" fmla="*/ 1123259 w 1834459"/>
                <a:gd name="connsiteY3" fmla="*/ 1498600 h 2607734"/>
                <a:gd name="connsiteX4" fmla="*/ 1148130 w 1834459"/>
                <a:gd name="connsiteY4" fmla="*/ 843492 h 2607734"/>
                <a:gd name="connsiteX5" fmla="*/ 1140192 w 1834459"/>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40270 w 1834537"/>
                <a:gd name="connsiteY0" fmla="*/ 0 h 2607734"/>
                <a:gd name="connsiteX1" fmla="*/ 975 w 1834537"/>
                <a:gd name="connsiteY1" fmla="*/ 1026584 h 2607734"/>
                <a:gd name="connsiteX2" fmla="*/ 1834537 w 1834537"/>
                <a:gd name="connsiteY2" fmla="*/ 2607734 h 2607734"/>
                <a:gd name="connsiteX3" fmla="*/ 1123337 w 1834537"/>
                <a:gd name="connsiteY3" fmla="*/ 1498600 h 2607734"/>
                <a:gd name="connsiteX4" fmla="*/ 1148208 w 1834537"/>
                <a:gd name="connsiteY4" fmla="*/ 843492 h 2607734"/>
                <a:gd name="connsiteX5" fmla="*/ 1140270 w 1834537"/>
                <a:gd name="connsiteY5" fmla="*/ 0 h 2607734"/>
                <a:gd name="connsiteX0" fmla="*/ 1138256 w 1834542"/>
                <a:gd name="connsiteY0" fmla="*/ 0 h 2620053"/>
                <a:gd name="connsiteX1" fmla="*/ 980 w 1834542"/>
                <a:gd name="connsiteY1" fmla="*/ 1038903 h 2620053"/>
                <a:gd name="connsiteX2" fmla="*/ 1834542 w 1834542"/>
                <a:gd name="connsiteY2" fmla="*/ 2620053 h 2620053"/>
                <a:gd name="connsiteX3" fmla="*/ 1123342 w 1834542"/>
                <a:gd name="connsiteY3" fmla="*/ 1510919 h 2620053"/>
                <a:gd name="connsiteX4" fmla="*/ 1148213 w 1834542"/>
                <a:gd name="connsiteY4" fmla="*/ 855811 h 2620053"/>
                <a:gd name="connsiteX5" fmla="*/ 1138256 w 1834542"/>
                <a:gd name="connsiteY5" fmla="*/ 0 h 2620053"/>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66 w 1834569"/>
                <a:gd name="connsiteY0" fmla="*/ 0 h 2639350"/>
                <a:gd name="connsiteX1" fmla="*/ 1007 w 1834569"/>
                <a:gd name="connsiteY1" fmla="*/ 1058200 h 2639350"/>
                <a:gd name="connsiteX2" fmla="*/ 1834569 w 1834569"/>
                <a:gd name="connsiteY2" fmla="*/ 2639350 h 2639350"/>
                <a:gd name="connsiteX3" fmla="*/ 1123369 w 1834569"/>
                <a:gd name="connsiteY3" fmla="*/ 1530216 h 2639350"/>
                <a:gd name="connsiteX4" fmla="*/ 1148240 w 1834569"/>
                <a:gd name="connsiteY4" fmla="*/ 875108 h 2639350"/>
                <a:gd name="connsiteX5" fmla="*/ 1128566 w 1834569"/>
                <a:gd name="connsiteY5" fmla="*/ 0 h 2639350"/>
                <a:gd name="connsiteX0" fmla="*/ 1128551 w 1834554"/>
                <a:gd name="connsiteY0" fmla="*/ 0 h 2639350"/>
                <a:gd name="connsiteX1" fmla="*/ 992 w 1834554"/>
                <a:gd name="connsiteY1" fmla="*/ 1058200 h 2639350"/>
                <a:gd name="connsiteX2" fmla="*/ 1834554 w 1834554"/>
                <a:gd name="connsiteY2" fmla="*/ 2639350 h 2639350"/>
                <a:gd name="connsiteX3" fmla="*/ 1123354 w 1834554"/>
                <a:gd name="connsiteY3" fmla="*/ 1530216 h 2639350"/>
                <a:gd name="connsiteX4" fmla="*/ 1148225 w 1834554"/>
                <a:gd name="connsiteY4" fmla="*/ 875108 h 2639350"/>
                <a:gd name="connsiteX5" fmla="*/ 1128551 w 1834554"/>
                <a:gd name="connsiteY5" fmla="*/ 0 h 2639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554" h="2639350">
                  <a:moveTo>
                    <a:pt x="1128551" y="0"/>
                  </a:moveTo>
                  <a:cubicBezTo>
                    <a:pt x="318180" y="54851"/>
                    <a:pt x="-20880" y="512805"/>
                    <a:pt x="992" y="1058200"/>
                  </a:cubicBezTo>
                  <a:cubicBezTo>
                    <a:pt x="-2183" y="1185200"/>
                    <a:pt x="342304" y="2417099"/>
                    <a:pt x="1834554" y="2639350"/>
                  </a:cubicBezTo>
                  <a:cubicBezTo>
                    <a:pt x="1059324" y="2307739"/>
                    <a:pt x="1084196" y="1718952"/>
                    <a:pt x="1123354" y="1530216"/>
                  </a:cubicBezTo>
                  <a:cubicBezTo>
                    <a:pt x="1131644" y="1311847"/>
                    <a:pt x="1206611" y="1183964"/>
                    <a:pt x="1148225" y="875108"/>
                  </a:cubicBezTo>
                  <a:cubicBezTo>
                    <a:pt x="993179" y="446306"/>
                    <a:pt x="85945" y="131282"/>
                    <a:pt x="1128551" y="0"/>
                  </a:cubicBezTo>
                  <a:close/>
                </a:path>
              </a:pathLst>
            </a:cu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err="1">
                <a:solidFill>
                  <a:schemeClr val="tx2"/>
                </a:solidFill>
              </a:endParaRPr>
            </a:p>
          </p:txBody>
        </p:sp>
        <p:sp>
          <p:nvSpPr>
            <p:cNvPr id="41" name="Rectangle 40">
              <a:extLst>
                <a:ext uri="{FF2B5EF4-FFF2-40B4-BE49-F238E27FC236}">
                  <a16:creationId xmlns:a16="http://schemas.microsoft.com/office/drawing/2014/main" id="{F46D6006-5016-4821-9AD4-C7B90E999B32}"/>
                </a:ext>
              </a:extLst>
            </p:cNvPr>
            <p:cNvSpPr/>
            <p:nvPr/>
          </p:nvSpPr>
          <p:spPr>
            <a:xfrm>
              <a:off x="4124863" y="1928199"/>
              <a:ext cx="1109747" cy="738664"/>
            </a:xfrm>
            <a:prstGeom prst="rect">
              <a:avLst/>
            </a:prstGeom>
          </p:spPr>
          <p:txBody>
            <a:bodyPr wrap="square" lIns="0" tIns="0" rIns="0" bIns="0">
              <a:spAutoFit/>
            </a:bodyPr>
            <a:lstStyle/>
            <a:p>
              <a:r>
                <a:rPr lang="en-US" sz="2400" b="1">
                  <a:solidFill>
                    <a:schemeClr val="bg1"/>
                  </a:solidFill>
                </a:rPr>
                <a:t>Có trách nhiệm</a:t>
              </a:r>
              <a:endParaRPr lang="en-US" sz="2400" dirty="0">
                <a:solidFill>
                  <a:schemeClr val="bg1"/>
                </a:solidFill>
              </a:endParaRPr>
            </a:p>
          </p:txBody>
        </p:sp>
        <p:sp>
          <p:nvSpPr>
            <p:cNvPr id="42" name="Rectangle 41">
              <a:extLst>
                <a:ext uri="{FF2B5EF4-FFF2-40B4-BE49-F238E27FC236}">
                  <a16:creationId xmlns:a16="http://schemas.microsoft.com/office/drawing/2014/main" id="{3BAE9C00-3683-4BF8-8F3D-DF2E6E659098}"/>
                </a:ext>
              </a:extLst>
            </p:cNvPr>
            <p:cNvSpPr/>
            <p:nvPr/>
          </p:nvSpPr>
          <p:spPr>
            <a:xfrm>
              <a:off x="6617474" y="1883098"/>
              <a:ext cx="1500352" cy="369332"/>
            </a:xfrm>
            <a:prstGeom prst="rect">
              <a:avLst/>
            </a:prstGeom>
          </p:spPr>
          <p:txBody>
            <a:bodyPr wrap="square" lIns="0" tIns="0" rIns="0" bIns="0">
              <a:spAutoFit/>
            </a:bodyPr>
            <a:lstStyle/>
            <a:p>
              <a:r>
                <a:rPr lang="en-US" sz="2400" b="1">
                  <a:solidFill>
                    <a:schemeClr val="bg1"/>
                  </a:solidFill>
                </a:rPr>
                <a:t>Có chuẩn bị</a:t>
              </a:r>
              <a:endParaRPr lang="en-US" sz="2400" dirty="0">
                <a:solidFill>
                  <a:schemeClr val="bg1"/>
                </a:solidFill>
              </a:endParaRPr>
            </a:p>
          </p:txBody>
        </p:sp>
        <p:sp>
          <p:nvSpPr>
            <p:cNvPr id="43" name="Rectangle 42">
              <a:extLst>
                <a:ext uri="{FF2B5EF4-FFF2-40B4-BE49-F238E27FC236}">
                  <a16:creationId xmlns:a16="http://schemas.microsoft.com/office/drawing/2014/main" id="{005DDDD8-05B2-48DB-9993-B92665C7D557}"/>
                </a:ext>
              </a:extLst>
            </p:cNvPr>
            <p:cNvSpPr/>
            <p:nvPr/>
          </p:nvSpPr>
          <p:spPr>
            <a:xfrm>
              <a:off x="7434309" y="3801199"/>
              <a:ext cx="1297198" cy="738664"/>
            </a:xfrm>
            <a:prstGeom prst="rect">
              <a:avLst/>
            </a:prstGeom>
          </p:spPr>
          <p:txBody>
            <a:bodyPr wrap="square" lIns="0" tIns="0" rIns="0" bIns="0">
              <a:spAutoFit/>
            </a:bodyPr>
            <a:lstStyle/>
            <a:p>
              <a:r>
                <a:rPr lang="en-US" sz="2400" b="1">
                  <a:solidFill>
                    <a:schemeClr val="bg1"/>
                  </a:solidFill>
                </a:rPr>
                <a:t>Biết </a:t>
              </a:r>
            </a:p>
            <a:p>
              <a:r>
                <a:rPr lang="en-US" sz="2400" b="1">
                  <a:solidFill>
                    <a:schemeClr val="bg1"/>
                  </a:solidFill>
                </a:rPr>
                <a:t>thích nghi</a:t>
              </a:r>
              <a:endParaRPr lang="en-US" sz="2400" dirty="0">
                <a:solidFill>
                  <a:schemeClr val="bg1"/>
                </a:solidFill>
              </a:endParaRPr>
            </a:p>
          </p:txBody>
        </p:sp>
        <p:sp>
          <p:nvSpPr>
            <p:cNvPr id="44" name="Rectangle 43">
              <a:extLst>
                <a:ext uri="{FF2B5EF4-FFF2-40B4-BE49-F238E27FC236}">
                  <a16:creationId xmlns:a16="http://schemas.microsoft.com/office/drawing/2014/main" id="{789D63BE-3C7B-4674-9E42-B00438DDB9EB}"/>
                </a:ext>
              </a:extLst>
            </p:cNvPr>
            <p:cNvSpPr/>
            <p:nvPr/>
          </p:nvSpPr>
          <p:spPr>
            <a:xfrm>
              <a:off x="5502494" y="5475402"/>
              <a:ext cx="1901940" cy="369332"/>
            </a:xfrm>
            <a:prstGeom prst="rect">
              <a:avLst/>
            </a:prstGeom>
          </p:spPr>
          <p:txBody>
            <a:bodyPr wrap="square" lIns="0" tIns="0" rIns="0" bIns="0">
              <a:spAutoFit/>
            </a:bodyPr>
            <a:lstStyle/>
            <a:p>
              <a:r>
                <a:rPr lang="en-US" sz="2400" b="1">
                  <a:solidFill>
                    <a:schemeClr val="bg1"/>
                  </a:solidFill>
                </a:rPr>
                <a:t>Biết hợp tác</a:t>
              </a:r>
              <a:endParaRPr lang="en-US" sz="2400" dirty="0">
                <a:solidFill>
                  <a:schemeClr val="bg1"/>
                </a:solidFill>
              </a:endParaRPr>
            </a:p>
          </p:txBody>
        </p:sp>
        <p:sp>
          <p:nvSpPr>
            <p:cNvPr id="45" name="Rectangle 44">
              <a:extLst>
                <a:ext uri="{FF2B5EF4-FFF2-40B4-BE49-F238E27FC236}">
                  <a16:creationId xmlns:a16="http://schemas.microsoft.com/office/drawing/2014/main" id="{35742C9D-C6BC-4EE3-92A2-C71270EE56A9}"/>
                </a:ext>
              </a:extLst>
            </p:cNvPr>
            <p:cNvSpPr/>
            <p:nvPr/>
          </p:nvSpPr>
          <p:spPr>
            <a:xfrm>
              <a:off x="3818249" y="3988613"/>
              <a:ext cx="1045299" cy="738664"/>
            </a:xfrm>
            <a:prstGeom prst="rect">
              <a:avLst/>
            </a:prstGeom>
          </p:spPr>
          <p:txBody>
            <a:bodyPr wrap="square" lIns="0" tIns="0" rIns="0" bIns="0">
              <a:spAutoFit/>
            </a:bodyPr>
            <a:lstStyle/>
            <a:p>
              <a:r>
                <a:rPr lang="en-US" sz="2400" b="1">
                  <a:solidFill>
                    <a:schemeClr val="bg1"/>
                  </a:solidFill>
                </a:rPr>
                <a:t>Có tín nhiệm</a:t>
              </a:r>
              <a:endParaRPr lang="en-US" sz="2400" dirty="0">
                <a:solidFill>
                  <a:schemeClr val="bg1"/>
                </a:solidFill>
              </a:endParaRPr>
            </a:p>
          </p:txBody>
        </p:sp>
        <p:sp>
          <p:nvSpPr>
            <p:cNvPr id="46" name="Rectangle 45">
              <a:extLst>
                <a:ext uri="{FF2B5EF4-FFF2-40B4-BE49-F238E27FC236}">
                  <a16:creationId xmlns:a16="http://schemas.microsoft.com/office/drawing/2014/main" id="{D63BCBCC-6EC7-4C1B-8D7F-AD563D3E2064}"/>
                </a:ext>
              </a:extLst>
            </p:cNvPr>
            <p:cNvSpPr/>
            <p:nvPr/>
          </p:nvSpPr>
          <p:spPr>
            <a:xfrm>
              <a:off x="5120977" y="2916832"/>
              <a:ext cx="2025942" cy="1477328"/>
            </a:xfrm>
            <a:prstGeom prst="rect">
              <a:avLst/>
            </a:prstGeom>
            <a:noFill/>
          </p:spPr>
          <p:txBody>
            <a:bodyPr wrap="square" lIns="0" tIns="0" rIns="0" bIns="0">
              <a:spAutoFit/>
            </a:bodyPr>
            <a:lstStyle/>
            <a:p>
              <a:pPr algn="ctr"/>
              <a:r>
                <a:rPr lang="en-US" sz="2400" b="1">
                  <a:solidFill>
                    <a:schemeClr val="accent1">
                      <a:lumMod val="75000"/>
                    </a:schemeClr>
                  </a:solidFill>
                  <a:latin typeface="+mj-lt"/>
                  <a:cs typeface="Times New Roman" pitchFamily="18" charset="0"/>
                </a:rPr>
                <a:t>NĂM YẾU TỐ CỦA MỘT DOANH NGHIỆP KIÊN CƯỜNG</a:t>
              </a:r>
              <a:endParaRPr lang="en-US" sz="2400" dirty="0">
                <a:solidFill>
                  <a:schemeClr val="accent1">
                    <a:lumMod val="75000"/>
                  </a:schemeClr>
                </a:solidFill>
              </a:endParaRPr>
            </a:p>
          </p:txBody>
        </p:sp>
        <p:sp>
          <p:nvSpPr>
            <p:cNvPr id="63" name="Rectangle 62">
              <a:extLst>
                <a:ext uri="{FF2B5EF4-FFF2-40B4-BE49-F238E27FC236}">
                  <a16:creationId xmlns:a16="http://schemas.microsoft.com/office/drawing/2014/main" id="{82824804-2FBB-4EF7-868C-2DA3F43A9606}"/>
                </a:ext>
              </a:extLst>
            </p:cNvPr>
            <p:cNvSpPr/>
            <p:nvPr/>
          </p:nvSpPr>
          <p:spPr>
            <a:xfrm>
              <a:off x="7360706" y="315137"/>
              <a:ext cx="2638763" cy="954107"/>
            </a:xfrm>
            <a:prstGeom prst="rect">
              <a:avLst/>
            </a:prstGeom>
          </p:spPr>
          <p:txBody>
            <a:bodyPr wrap="square">
              <a:spAutoFit/>
            </a:bodyPr>
            <a:lstStyle/>
            <a:p>
              <a:pPr marL="171450" lvl="0" indent="-171450">
                <a:buFont typeface="Arial" panose="020B0604020202020204" pitchFamily="34" charset="0"/>
                <a:buChar char="•"/>
                <a:defRPr/>
              </a:pPr>
              <a:r>
                <a:rPr lang="en-US" sz="1400">
                  <a:cs typeface="Arial" panose="020B0604020202020204" pitchFamily="34" charset="0"/>
                </a:rPr>
                <a:t>DN có chuẩn bị, có đầu tư vào lực lượng, công nghệ và chiến lược: </a:t>
              </a:r>
              <a:r>
                <a:rPr lang="en-US" sz="1400" b="1">
                  <a:cs typeface="Arial" panose="020B0604020202020204" pitchFamily="34" charset="0"/>
                </a:rPr>
                <a:t>có khả năng vượt trội để vượt qua thách thức</a:t>
              </a:r>
              <a:r>
                <a:rPr lang="en-US" sz="1400">
                  <a:cs typeface="Arial" panose="020B0604020202020204" pitchFamily="34" charset="0"/>
                </a:rPr>
                <a:t>.</a:t>
              </a:r>
              <a:endParaRPr lang="en-US" sz="1400" dirty="0">
                <a:cs typeface="Arial" panose="020B0604020202020204" pitchFamily="34" charset="0"/>
              </a:endParaRPr>
            </a:p>
          </p:txBody>
        </p:sp>
        <p:sp>
          <p:nvSpPr>
            <p:cNvPr id="64" name="Rectangle 63">
              <a:extLst>
                <a:ext uri="{FF2B5EF4-FFF2-40B4-BE49-F238E27FC236}">
                  <a16:creationId xmlns:a16="http://schemas.microsoft.com/office/drawing/2014/main" id="{EC3138BD-020B-44FD-8924-AADD4D647C29}"/>
                </a:ext>
              </a:extLst>
            </p:cNvPr>
            <p:cNvSpPr/>
            <p:nvPr/>
          </p:nvSpPr>
          <p:spPr>
            <a:xfrm>
              <a:off x="8971803" y="2388175"/>
              <a:ext cx="2892400" cy="1600438"/>
            </a:xfrm>
            <a:prstGeom prst="rect">
              <a:avLst/>
            </a:prstGeom>
          </p:spPr>
          <p:txBody>
            <a:bodyPr wrap="square">
              <a:spAutoFit/>
            </a:bodyPr>
            <a:lstStyle/>
            <a:p>
              <a:pPr marL="171450" lvl="0" indent="-171450">
                <a:buFont typeface="Arial" panose="020B0604020202020204" pitchFamily="34" charset="0"/>
                <a:buChar char="•"/>
                <a:defRPr/>
              </a:pPr>
              <a:r>
                <a:rPr lang="en-US" sz="1400">
                  <a:cs typeface="Arial" panose="020B0604020202020204" pitchFamily="34" charset="0"/>
                </a:rPr>
                <a:t>DN nào đã sớm đầu tư để tạo điều  kiện cho đội ngũ nhân viên — triển khai quy trình luân chuyển, tái đào tạo, hoặc tạo điều kiện làm việc linh hoạt — thì </a:t>
              </a:r>
              <a:r>
                <a:rPr lang="en-US" sz="1400" b="1">
                  <a:cs typeface="Arial" panose="020B0604020202020204" pitchFamily="34" charset="0"/>
                </a:rPr>
                <a:t>cũng có nhiều khả năng đã xây dựng tốt văn hóa kiên tâm</a:t>
              </a:r>
              <a:endParaRPr lang="en-US" sz="1400" dirty="0">
                <a:cs typeface="Arial" panose="020B0604020202020204" pitchFamily="34" charset="0"/>
              </a:endParaRPr>
            </a:p>
          </p:txBody>
        </p:sp>
        <p:sp>
          <p:nvSpPr>
            <p:cNvPr id="65" name="Rectangle 64">
              <a:extLst>
                <a:ext uri="{FF2B5EF4-FFF2-40B4-BE49-F238E27FC236}">
                  <a16:creationId xmlns:a16="http://schemas.microsoft.com/office/drawing/2014/main" id="{627B24AB-8B51-4341-BF2F-F4C615F15E99}"/>
                </a:ext>
              </a:extLst>
            </p:cNvPr>
            <p:cNvSpPr/>
            <p:nvPr/>
          </p:nvSpPr>
          <p:spPr>
            <a:xfrm>
              <a:off x="8474588" y="5081656"/>
              <a:ext cx="2892400" cy="1384995"/>
            </a:xfrm>
            <a:prstGeom prst="rect">
              <a:avLst/>
            </a:prstGeom>
          </p:spPr>
          <p:txBody>
            <a:bodyPr wrap="square">
              <a:spAutoFit/>
            </a:bodyPr>
            <a:lstStyle/>
            <a:p>
              <a:pPr marL="171450" lvl="0" indent="-171450">
                <a:buFont typeface="Arial" panose="020B0604020202020204" pitchFamily="34" charset="0"/>
                <a:buChar char="•"/>
                <a:defRPr/>
              </a:pPr>
              <a:r>
                <a:rPr lang="en-US" sz="1400">
                  <a:cs typeface="Arial" panose="020B0604020202020204" pitchFamily="34" charset="0"/>
                </a:rPr>
                <a:t>79% DN đầu tư vào công nghệ làm việc từ xa và tạo điều kiện phối hợp giữa các bộ phận khi làm việc từ xa tỏ ra </a:t>
              </a:r>
              <a:r>
                <a:rPr lang="en-US" sz="1400" b="1">
                  <a:cs typeface="Arial" panose="020B0604020202020204" pitchFamily="34" charset="0"/>
                </a:rPr>
                <a:t>vững vàng trong biến cố và dễ xoay chuyển cục diện kinh doanh</a:t>
              </a:r>
              <a:r>
                <a:rPr lang="en-US" sz="1400">
                  <a:cs typeface="Arial" panose="020B0604020202020204" pitchFamily="34" charset="0"/>
                </a:rPr>
                <a:t>.</a:t>
              </a:r>
              <a:endParaRPr lang="en-US" sz="1400" dirty="0">
                <a:cs typeface="Arial" panose="020B0604020202020204" pitchFamily="34" charset="0"/>
              </a:endParaRPr>
            </a:p>
          </p:txBody>
        </p:sp>
        <p:sp>
          <p:nvSpPr>
            <p:cNvPr id="66" name="Rectangle 65">
              <a:extLst>
                <a:ext uri="{FF2B5EF4-FFF2-40B4-BE49-F238E27FC236}">
                  <a16:creationId xmlns:a16="http://schemas.microsoft.com/office/drawing/2014/main" id="{CB6CCFE0-E056-4BE3-AF4F-4625718AF12D}"/>
                </a:ext>
              </a:extLst>
            </p:cNvPr>
            <p:cNvSpPr/>
            <p:nvPr/>
          </p:nvSpPr>
          <p:spPr>
            <a:xfrm>
              <a:off x="690973" y="4626272"/>
              <a:ext cx="2892400" cy="1169551"/>
            </a:xfrm>
            <a:prstGeom prst="rect">
              <a:avLst/>
            </a:prstGeom>
          </p:spPr>
          <p:txBody>
            <a:bodyPr wrap="square">
              <a:spAutoFit/>
            </a:bodyPr>
            <a:lstStyle/>
            <a:p>
              <a:pPr marL="171450" lvl="0" indent="-171450">
                <a:buFont typeface="Arial" panose="020B0604020202020204" pitchFamily="34" charset="0"/>
                <a:buChar char="•"/>
                <a:defRPr/>
              </a:pPr>
              <a:r>
                <a:rPr lang="en-US" sz="1400">
                  <a:cs typeface="Arial" panose="020B0604020202020204" pitchFamily="34" charset="0"/>
                </a:rPr>
                <a:t>DN có tín nhiệm cao với nhân viên, khách hàng về cả 3 phương diện tín nhiệm thì </a:t>
              </a:r>
              <a:r>
                <a:rPr lang="en-US" sz="1400" b="1">
                  <a:cs typeface="Arial" panose="020B0604020202020204" pitchFamily="34" charset="0"/>
                </a:rPr>
                <a:t>càng có mức độ kiên cường cao</a:t>
              </a:r>
              <a:r>
                <a:rPr lang="en-US" sz="1400">
                  <a:cs typeface="Arial" panose="020B0604020202020204" pitchFamily="34" charset="0"/>
                </a:rPr>
                <a:t> (vượt qua biến cố hiệu quả).</a:t>
              </a:r>
            </a:p>
          </p:txBody>
        </p:sp>
        <p:sp>
          <p:nvSpPr>
            <p:cNvPr id="67" name="Rectangle 66">
              <a:extLst>
                <a:ext uri="{FF2B5EF4-FFF2-40B4-BE49-F238E27FC236}">
                  <a16:creationId xmlns:a16="http://schemas.microsoft.com/office/drawing/2014/main" id="{611F5F78-3ADA-4CC3-ADC7-EF7CCCF59B82}"/>
                </a:ext>
              </a:extLst>
            </p:cNvPr>
            <p:cNvSpPr/>
            <p:nvPr/>
          </p:nvSpPr>
          <p:spPr>
            <a:xfrm>
              <a:off x="657682" y="1461994"/>
              <a:ext cx="2892400" cy="954107"/>
            </a:xfrm>
            <a:prstGeom prst="rect">
              <a:avLst/>
            </a:prstGeom>
          </p:spPr>
          <p:txBody>
            <a:bodyPr wrap="square">
              <a:spAutoFit/>
            </a:bodyPr>
            <a:lstStyle/>
            <a:p>
              <a:pPr marL="171450" lvl="0" indent="-171450" algn="r">
                <a:buFont typeface="Arial" panose="020B0604020202020204" pitchFamily="34" charset="0"/>
                <a:buChar char="•"/>
                <a:defRPr/>
              </a:pPr>
              <a:r>
                <a:rPr lang="en-US" sz="1400">
                  <a:cs typeface="Arial" panose="020B0604020202020204" pitchFamily="34" charset="0"/>
                </a:rPr>
                <a:t>DN càng có trách nhiệm với nhân viên, và với cộng đồng (chỉ số ESG cao) thì càng dễ có </a:t>
              </a:r>
              <a:r>
                <a:rPr lang="en-US" sz="1400" b="1">
                  <a:cs typeface="Arial" panose="020B0604020202020204" pitchFamily="34" charset="0"/>
                </a:rPr>
                <a:t>văn hóa doanh nghiệp kiên cường</a:t>
              </a:r>
              <a:endParaRPr lang="en-US" sz="1400" b="1" dirty="0">
                <a:cs typeface="Arial" panose="020B0604020202020204" pitchFamily="34" charset="0"/>
              </a:endParaRPr>
            </a:p>
          </p:txBody>
        </p:sp>
      </p:grpSp>
      <p:sp>
        <p:nvSpPr>
          <p:cNvPr id="69" name="Rectangle 68">
            <a:extLst>
              <a:ext uri="{FF2B5EF4-FFF2-40B4-BE49-F238E27FC236}">
                <a16:creationId xmlns:a16="http://schemas.microsoft.com/office/drawing/2014/main" id="{01725D8D-4819-4AE6-A64D-4EE3825B0D05}"/>
              </a:ext>
            </a:extLst>
          </p:cNvPr>
          <p:cNvSpPr/>
          <p:nvPr/>
        </p:nvSpPr>
        <p:spPr>
          <a:xfrm>
            <a:off x="1137322" y="6590081"/>
            <a:ext cx="8730344" cy="276999"/>
          </a:xfrm>
          <a:prstGeom prst="rect">
            <a:avLst/>
          </a:prstGeom>
        </p:spPr>
        <p:txBody>
          <a:bodyPr wrap="square">
            <a:spAutoFit/>
          </a:bodyPr>
          <a:lstStyle/>
          <a:p>
            <a:pPr lvl="0" algn="r">
              <a:spcBef>
                <a:spcPct val="0"/>
              </a:spcBef>
              <a:spcAft>
                <a:spcPct val="0"/>
              </a:spcAft>
              <a:defRPr/>
            </a:pPr>
            <a:r>
              <a:rPr lang="en-US" sz="1200" i="1" spc="100">
                <a:latin typeface="Calibri Light" panose="020F0302020204030204" pitchFamily="34" charset="0"/>
                <a:ea typeface="Open Sans" panose="020B0606030504020204" pitchFamily="34" charset="0"/>
                <a:cs typeface="Calibri Light" panose="020F0302020204030204" pitchFamily="34" charset="0"/>
              </a:rPr>
              <a:t>Nguồn: Tổ chức kiên cường – Vững vàng trong thử thách, Deloitte Việt Nam, T8/2021</a:t>
            </a:r>
            <a:endParaRPr lang="en-US" sz="1200" i="1" dirty="0">
              <a:latin typeface="Calibri Light" panose="020F0302020204030204" pitchFamily="34" charset="0"/>
              <a:ea typeface="Open Sans" panose="020B0606030504020204" pitchFamily="34" charset="0"/>
              <a:cs typeface="Calibri Light" panose="020F0302020204030204" pitchFamily="34" charset="0"/>
            </a:endParaRPr>
          </a:p>
        </p:txBody>
      </p:sp>
    </p:spTree>
    <p:extLst>
      <p:ext uri="{BB962C8B-B14F-4D97-AF65-F5344CB8AC3E}">
        <p14:creationId xmlns:p14="http://schemas.microsoft.com/office/powerpoint/2010/main" val="270605529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9AC82BDB-3632-4A76-A533-AEBDE043BE70}" vid="{95E3F58F-73C4-4E08-B105-5B1FF16EE1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996</TotalTime>
  <Words>2694</Words>
  <Application>Microsoft Office PowerPoint</Application>
  <PresentationFormat>Widescreen</PresentationFormat>
  <Paragraphs>231</Paragraphs>
  <Slides>13</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alibri Light</vt:lpstr>
      <vt:lpstr>Montserrat</vt:lpstr>
      <vt:lpstr>Verdana</vt:lpstr>
      <vt:lpstr>Wingdings 2</vt:lpstr>
      <vt:lpstr>Deloitte Brand Theme</vt:lpstr>
      <vt:lpstr>think-cell Slide</vt:lpstr>
      <vt:lpstr>Chiến lược Ứng phó, Phục hồi và Phát triển/Hưng thịnh từ khủng khoảng</vt:lpstr>
      <vt:lpstr>ỨNG PHÓ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Đảm bảo tính tuân thủ trong kinh doanh</dc:title>
  <dc:creator>Dao Thuy, Trinh</dc:creator>
  <cp:lastModifiedBy>Dao Thuy, Trinh</cp:lastModifiedBy>
  <cp:revision>78</cp:revision>
  <cp:lastPrinted>2021-09-08T06:28:53Z</cp:lastPrinted>
  <dcterms:created xsi:type="dcterms:W3CDTF">2021-06-28T08:37:53Z</dcterms:created>
  <dcterms:modified xsi:type="dcterms:W3CDTF">2021-09-08T06:59: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2-15T06:54:2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bc5dba6-76b1-4379-8a0b-a5696e1bb69c</vt:lpwstr>
  </property>
  <property fmtid="{D5CDD505-2E9C-101B-9397-08002B2CF9AE}" pid="8" name="MSIP_Label_ea60d57e-af5b-4752-ac57-3e4f28ca11dc_ContentBits">
    <vt:lpwstr>0</vt:lpwstr>
  </property>
</Properties>
</file>